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</p:sldMasterIdLst>
  <p:notesMasterIdLst>
    <p:notesMasterId r:id="rId7"/>
  </p:notesMasterIdLst>
  <p:sldIdLst>
    <p:sldId id="2147471019" r:id="rId3"/>
    <p:sldId id="2147376589" r:id="rId4"/>
    <p:sldId id="317" r:id="rId5"/>
    <p:sldId id="2147480539" r:id="rId6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kcja domyślna" id="{CB2F9D7A-D941-4281-A5BF-2015DA9895B9}">
          <p14:sldIdLst/>
        </p14:section>
        <p14:section name="O nas" id="{A05BB947-61C4-43B0-8FE4-29D2898853A2}">
          <p14:sldIdLst>
            <p14:sldId id="2147471019"/>
            <p14:sldId id="2147376589"/>
            <p14:sldId id="317"/>
            <p14:sldId id="2147480539"/>
          </p14:sldIdLst>
        </p14:section>
        <p14:section name="Nasze rozwiązania" id="{520E2AF7-222F-4EF6-ABF4-0C19D9B6C97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wa Chmielewska" initials="EC" lastIdx="12" clrIdx="0"/>
  <p:cmAuthor id="2" name="Alicja Bartkowska" initials="AB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E000"/>
    <a:srgbClr val="AF0000"/>
    <a:srgbClr val="3EB0BB"/>
    <a:srgbClr val="EA1B0A"/>
    <a:srgbClr val="3AA5AF"/>
    <a:srgbClr val="48C6D3"/>
    <a:srgbClr val="AF0402"/>
    <a:srgbClr val="18A2AF"/>
    <a:srgbClr val="5CC1CB"/>
    <a:srgbClr val="2469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2339E2-88E8-4B0D-9309-3F9A7B6FB2B4}" v="1" dt="2024-05-16T20:42:28.7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27F97BB-C833-4FB7-BDE5-3F7075034690}" styleName="Styl z motywem 2 — Ak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7" autoAdjust="0"/>
    <p:restoredTop sz="94660"/>
  </p:normalViewPr>
  <p:slideViewPr>
    <p:cSldViewPr snapToGrid="0">
      <p:cViewPr varScale="1">
        <p:scale>
          <a:sx n="77" d="100"/>
          <a:sy n="77" d="100"/>
        </p:scale>
        <p:origin x="18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AA2340-0B12-4904-AB19-475EB8D675D4}" type="datetimeFigureOut">
              <a:rPr lang="pl-PL" smtClean="0"/>
              <a:t>17.05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4ADC2-25A7-4B7E-8D98-4F8AB547751B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7890129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b="1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4ADC2-25A7-4B7E-8D98-4F8AB547751B}" type="slidenum">
              <a:rPr kumimoji="0" 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7581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Google Shape;63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35" name="Google Shape;635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</a:pPr>
            <a:endParaRPr dirty="0"/>
          </a:p>
        </p:txBody>
      </p:sp>
      <p:sp>
        <p:nvSpPr>
          <p:cNvPr id="636" name="Google Shape;636;p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1400"/>
              <a:buFont typeface="Arial"/>
              <a:buNone/>
              <a:tabLst/>
              <a:defRPr/>
            </a:pPr>
            <a:fld id="{00000000-1234-1234-1234-123412341234}" type="slidenum"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400"/>
                <a:buFont typeface="Arial"/>
                <a:buNone/>
                <a:tabLst/>
                <a:defRPr/>
              </a:pPr>
              <a:t>4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194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088000" y="2097600"/>
            <a:ext cx="80160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88000" y="3868800"/>
            <a:ext cx="80160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EA1C0A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184000" y="696000"/>
            <a:ext cx="1920000" cy="192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08.12.2017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6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92573"/>
      </p:ext>
    </p:extLst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503767" y="1828799"/>
            <a:ext cx="7344000" cy="4531200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8184000" y="1828800"/>
            <a:ext cx="3504000" cy="3504000"/>
          </a:xfrm>
        </p:spPr>
        <p:txBody>
          <a:bodyPr/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367718"/>
      </p:ext>
    </p:extLst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7557526"/>
      </p:ext>
    </p:extLst>
  </p:cSld>
  <p:clrMapOvr>
    <a:masterClrMapping/>
  </p:clrMapOvr>
  <p:hf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7684689"/>
      </p:ext>
    </p:extLst>
  </p:cSld>
  <p:clrMapOvr>
    <a:masterClrMapping/>
  </p:clrMapOvr>
  <p:hf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1828800"/>
            <a:ext cx="7344000" cy="4065600"/>
          </a:xfrm>
        </p:spPr>
        <p:txBody>
          <a:bodyPr/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>
                <a:latin typeface="+mj-lt"/>
              </a:defRPr>
            </a:lvl1pPr>
            <a:lvl2pPr marL="723882" indent="-249760">
              <a:spcAft>
                <a:spcPts val="1333"/>
              </a:spcAft>
              <a:defRPr>
                <a:latin typeface="+mj-lt"/>
              </a:defRPr>
            </a:lvl2pPr>
            <a:lvl3pPr marL="960943" indent="-237061">
              <a:spcAft>
                <a:spcPts val="1333"/>
              </a:spcAft>
              <a:defRPr>
                <a:latin typeface="+mj-lt"/>
              </a:defRPr>
            </a:lvl3pPr>
            <a:lvl4pPr marL="1198003" indent="-237061">
              <a:spcAft>
                <a:spcPts val="1333"/>
              </a:spcAft>
              <a:defRPr>
                <a:latin typeface="+mj-lt"/>
              </a:defRPr>
            </a:lvl4pPr>
            <a:lvl5pPr marL="1435064" indent="-237061">
              <a:spcAft>
                <a:spcPts val="1333"/>
              </a:spcAft>
              <a:defRPr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2765321"/>
      </p:ext>
    </p:extLst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88249"/>
      </p:ext>
    </p:extLst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0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557538"/>
      </p:ext>
    </p:extLst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1828800"/>
            <a:ext cx="7344000" cy="4065600"/>
          </a:xfrm>
        </p:spPr>
        <p:txBody>
          <a:bodyPr/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840148"/>
      </p:ext>
    </p:extLst>
  </p:cSld>
  <p:clrMapOvr>
    <a:masterClrMapping/>
  </p:clrMapOvr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961301"/>
      </p:ext>
    </p:extLst>
  </p:cSld>
  <p:clrMapOvr>
    <a:masterClrMapping/>
  </p:clrMapOvr>
  <p:hf hdr="0" ft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380999"/>
      </p:ext>
    </p:extLst>
  </p:cSld>
  <p:clrMapOvr>
    <a:masterClrMapping/>
  </p:clrMapOvr>
  <p:hf hdr="0" ft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880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1093543053"/>
      </p:ext>
    </p:extLst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08800" y="2097600"/>
            <a:ext cx="80160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08800" y="3868800"/>
            <a:ext cx="80160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FFFFFF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219200" y="696000"/>
            <a:ext cx="1920000" cy="192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08.12.2017</a:t>
            </a:r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8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50245"/>
      </p:ext>
    </p:extLst>
  </p:cSld>
  <p:clrMapOvr>
    <a:masterClrMapping/>
  </p:clrMapOvr>
  <p:hf hdr="0" ft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04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8870400" y="0"/>
            <a:ext cx="3321600" cy="68592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660355138"/>
      </p:ext>
    </p:extLst>
  </p:cSld>
  <p:clrMapOvr>
    <a:masterClrMapping/>
  </p:clrMapOvr>
  <p:hf hdr="0" ft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584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9878400" y="0"/>
            <a:ext cx="2313600" cy="6859200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801600" cy="68592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</p:spTree>
    <p:extLst>
      <p:ext uri="{BB962C8B-B14F-4D97-AF65-F5344CB8AC3E}">
        <p14:creationId xmlns:p14="http://schemas.microsoft.com/office/powerpoint/2010/main" val="3713491527"/>
      </p:ext>
    </p:extLst>
  </p:cSld>
  <p:clrMapOvr>
    <a:masterClrMapping/>
  </p:clrMapOvr>
  <p:hf hdr="0" ft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601" y="4348800"/>
            <a:ext cx="2833169" cy="840000"/>
          </a:xfrm>
          <a:prstGeom prst="rect">
            <a:avLst/>
          </a:prstGeom>
        </p:spPr>
      </p:pic>
      <p:grpSp>
        <p:nvGrpSpPr>
          <p:cNvPr id="11" name="Gruppieren 10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739200" y="1545600"/>
            <a:ext cx="6388800" cy="144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3739200" y="3024000"/>
            <a:ext cx="6388800" cy="1032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EA1C0A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8750644"/>
      </p:ext>
    </p:extLst>
  </p:cSld>
  <p:clrMapOvr>
    <a:masterClrMapping/>
  </p:clrMapOvr>
  <p:hf hdr="0" ft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1051200" y="0"/>
            <a:ext cx="504000" cy="6859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1051200" cy="68592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9"/>
          <p:cNvSpPr/>
          <p:nvPr userDrawn="1"/>
        </p:nvSpPr>
        <p:spPr>
          <a:xfrm>
            <a:off x="8457600" y="0"/>
            <a:ext cx="3734400" cy="685920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2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1601" y="4348800"/>
            <a:ext cx="2833169" cy="84000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555200" y="1545600"/>
            <a:ext cx="6388800" cy="144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1555200" y="3024000"/>
            <a:ext cx="6388800" cy="1032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53310600"/>
      </p:ext>
    </p:extLst>
  </p:cSld>
  <p:clrMapOvr>
    <a:masterClrMapping/>
  </p:clrMapOvr>
  <p:hf hdr="0" ft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drozdział P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27002" y="6071123"/>
            <a:ext cx="1264999" cy="632499"/>
          </a:xfrm>
          <a:prstGeom prst="rect">
            <a:avLst/>
          </a:prstGeom>
        </p:spPr>
      </p:pic>
      <p:sp>
        <p:nvSpPr>
          <p:cNvPr id="7" name="Symbol zastępczy tekstu 2"/>
          <p:cNvSpPr>
            <a:spLocks noGrp="1"/>
          </p:cNvSpPr>
          <p:nvPr>
            <p:ph type="body" idx="1" hasCustomPrompt="1"/>
          </p:nvPr>
        </p:nvSpPr>
        <p:spPr>
          <a:xfrm>
            <a:off x="411403" y="3058376"/>
            <a:ext cx="9519407" cy="1500187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400" baseline="0">
                <a:solidFill>
                  <a:schemeClr val="accent5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Slajd na podrozdział i koniec</a:t>
            </a:r>
          </a:p>
        </p:txBody>
      </p:sp>
      <p:sp>
        <p:nvSpPr>
          <p:cNvPr id="11" name="Symbol zastępczy tekstu 2"/>
          <p:cNvSpPr>
            <a:spLocks noGrp="1"/>
          </p:cNvSpPr>
          <p:nvPr>
            <p:ph type="body" idx="11" hasCustomPrompt="1"/>
          </p:nvPr>
        </p:nvSpPr>
        <p:spPr>
          <a:xfrm>
            <a:off x="411403" y="4589464"/>
            <a:ext cx="9519407" cy="886304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aseline="0">
                <a:solidFill>
                  <a:schemeClr val="accent5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 dirty="0"/>
              <a:t>Krótki przewodnik</a:t>
            </a:r>
          </a:p>
        </p:txBody>
      </p:sp>
    </p:spTree>
    <p:extLst>
      <p:ext uri="{BB962C8B-B14F-4D97-AF65-F5344CB8AC3E}">
        <p14:creationId xmlns:p14="http://schemas.microsoft.com/office/powerpoint/2010/main" val="27254500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088000" y="2097600"/>
            <a:ext cx="80160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088000" y="3868800"/>
            <a:ext cx="80160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EA1C0A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184000" y="696000"/>
            <a:ext cx="1920000" cy="192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31.10.2019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6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878877"/>
      </p:ext>
    </p:extLst>
  </p:cSld>
  <p:clrMapOvr>
    <a:masterClrMapping/>
  </p:clrMapOvr>
  <p:hf hdr="0" ft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08800" y="2097600"/>
            <a:ext cx="80160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08800" y="3868800"/>
            <a:ext cx="80160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FFFFFF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219200" y="696000"/>
            <a:ext cx="1920000" cy="192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31.10.2019</a:t>
            </a:r>
            <a:endParaRPr lang="de-DE" dirty="0"/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28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358998"/>
      </p:ext>
    </p:extLst>
  </p:cSld>
  <p:clrMapOvr>
    <a:masterClrMapping/>
  </p:clrMapOvr>
  <p:hf hdr="0" ft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49200" y="0"/>
              <a:ext cx="22716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01" y="-1"/>
            <a:ext cx="8077940" cy="6859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05600" y="2097600"/>
            <a:ext cx="70608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05600" y="3868800"/>
            <a:ext cx="70608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EA1C0A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60800" y="696000"/>
            <a:ext cx="1920000" cy="192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31.10.2019</a:t>
            </a:r>
            <a:endParaRPr lang="de-DE" dirty="0"/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4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4109107"/>
      </p:ext>
    </p:extLst>
  </p:cSld>
  <p:clrMapOvr>
    <a:masterClrMapping/>
  </p:clrMapOvr>
  <p:hf hdr="0" ft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5041305"/>
      </p:ext>
    </p:extLst>
  </p:cSld>
  <p:clrMapOvr>
    <a:masterClrMapping/>
  </p:clrMapOvr>
  <p:hf hdr="0" ft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40656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40656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365709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/>
          <p:nvPr userDrawn="1"/>
        </p:nvGrpSpPr>
        <p:grpSpPr>
          <a:xfrm>
            <a:off x="0" y="0"/>
            <a:ext cx="12192000" cy="68592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49200" y="0"/>
              <a:ext cx="22716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01" y="-1"/>
            <a:ext cx="8077940" cy="68592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05600" y="2097600"/>
            <a:ext cx="7060800" cy="1632000"/>
          </a:xfrm>
        </p:spPr>
        <p:txBody>
          <a:bodyPr anchor="b" anchorCtr="0">
            <a:noAutofit/>
          </a:bodyPr>
          <a:lstStyle>
            <a:lvl1pPr algn="r">
              <a:lnSpc>
                <a:spcPts val="6133"/>
              </a:lnSpc>
              <a:defRPr sz="6133" kern="100" baseline="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05600" y="3868800"/>
            <a:ext cx="7060800" cy="7248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800"/>
              </a:spcAft>
              <a:buNone/>
              <a:defRPr sz="2533" kern="100" baseline="0">
                <a:solidFill>
                  <a:srgbClr val="EA1C0A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60800" y="696000"/>
            <a:ext cx="1920000" cy="192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08.12.2017</a:t>
            </a:r>
            <a:endParaRPr lang="de-DE" dirty="0"/>
          </a:p>
        </p:txBody>
      </p:sp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401" y="4944000"/>
            <a:ext cx="2833169" cy="8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673683"/>
      </p:ext>
    </p:extLst>
  </p:cSld>
  <p:clrMapOvr>
    <a:masterClrMapping/>
  </p:clrMapOvr>
  <p:hf hdr="0" ft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50704274"/>
      </p:ext>
    </p:extLst>
  </p:cSld>
  <p:clrMapOvr>
    <a:masterClrMapping/>
  </p:clrMapOvr>
  <p:hf hdr="0" ft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3767" y="1828800"/>
            <a:ext cx="7344000" cy="453178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8184000" y="1828800"/>
            <a:ext cx="3504000" cy="3504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4799103"/>
      </p:ext>
    </p:extLst>
  </p:cSld>
  <p:clrMapOvr>
    <a:masterClrMapping/>
  </p:clrMapOvr>
  <p:hf hdr="0" ft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84000" y="1828800"/>
            <a:ext cx="3504000" cy="3504000"/>
          </a:xfrm>
        </p:spPr>
        <p:txBody>
          <a:bodyPr/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7848000" cy="5030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8574919"/>
      </p:ext>
    </p:extLst>
  </p:cSld>
  <p:clrMapOvr>
    <a:masterClrMapping/>
  </p:clrMapOvr>
  <p:hf hdr="0" ft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12192000" cy="50304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4594394"/>
      </p:ext>
    </p:extLst>
  </p:cSld>
  <p:clrMapOvr>
    <a:masterClrMapping/>
  </p:clrMapOvr>
  <p:hf hdr="0" ft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503767" y="1828799"/>
            <a:ext cx="7344000" cy="453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8184000" y="1828800"/>
            <a:ext cx="3504000" cy="3504000"/>
          </a:xfrm>
        </p:spPr>
        <p:txBody>
          <a:bodyPr/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0256207"/>
      </p:ext>
    </p:extLst>
  </p:cSld>
  <p:clrMapOvr>
    <a:masterClrMapping/>
  </p:clrMapOvr>
  <p:hf hdr="0" ft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0138105"/>
      </p:ext>
    </p:extLst>
  </p:cSld>
  <p:clrMapOvr>
    <a:masterClrMapping/>
  </p:clrMapOvr>
  <p:hf hdr="0" ft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31.10.2019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8568130"/>
      </p:ext>
    </p:extLst>
  </p:cSld>
  <p:clrMapOvr>
    <a:masterClrMapping/>
  </p:clrMapOvr>
  <p:hf hdr="0" ft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o slidenumber, no d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17033168"/>
      </p:ext>
    </p:extLst>
  </p:cSld>
  <p:clrMapOvr>
    <a:masterClrMapping/>
  </p:clrMapOvr>
  <p:hf hdr="0" ft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1828800"/>
            <a:ext cx="7344000" cy="4065600"/>
          </a:xfrm>
        </p:spPr>
        <p:txBody>
          <a:bodyPr/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>
                <a:latin typeface="+mj-lt"/>
              </a:defRPr>
            </a:lvl1pPr>
            <a:lvl2pPr marL="723882" indent="-249760">
              <a:spcAft>
                <a:spcPts val="1333"/>
              </a:spcAft>
              <a:defRPr>
                <a:latin typeface="+mj-lt"/>
              </a:defRPr>
            </a:lvl2pPr>
            <a:lvl3pPr marL="960943" indent="-237061">
              <a:spcAft>
                <a:spcPts val="1333"/>
              </a:spcAft>
              <a:defRPr>
                <a:latin typeface="+mj-lt"/>
              </a:defRPr>
            </a:lvl3pPr>
            <a:lvl4pPr marL="1198003" indent="-237061">
              <a:spcAft>
                <a:spcPts val="1333"/>
              </a:spcAft>
              <a:defRPr>
                <a:latin typeface="+mj-lt"/>
              </a:defRPr>
            </a:lvl4pPr>
            <a:lvl5pPr marL="1435064" indent="-237061">
              <a:spcAft>
                <a:spcPts val="1333"/>
              </a:spcAft>
              <a:defRPr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399426"/>
      </p:ext>
    </p:extLst>
  </p:cSld>
  <p:clrMapOvr>
    <a:masterClrMapping/>
  </p:clrMapOvr>
  <p:hf hdr="0" ft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81306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2699859"/>
      </p:ext>
    </p:extLst>
  </p:cSld>
  <p:clrMapOvr>
    <a:masterClrMapping/>
  </p:clrMapOvr>
  <p:hf hdr="0" ft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000000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000000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10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853330"/>
      </p:ext>
    </p:extLst>
  </p:cSld>
  <p:clrMapOvr>
    <a:masterClrMapping/>
  </p:clrMapOvr>
  <p:hf hdr="0" ft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04000" y="1828800"/>
            <a:ext cx="7344000" cy="4065600"/>
          </a:xfrm>
        </p:spPr>
        <p:txBody>
          <a:bodyPr/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6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216462"/>
      </p:ext>
    </p:extLst>
  </p:cSld>
  <p:clrMapOvr>
    <a:masterClrMapping/>
  </p:clrMapOvr>
  <p:hf hdr="0" ft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505240"/>
      </p:ext>
    </p:extLst>
  </p:cSld>
  <p:clrMapOvr>
    <a:masterClrMapping/>
  </p:clrMapOvr>
  <p:hf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3120000"/>
          </a:xfrm>
        </p:spPr>
        <p:txBody>
          <a:bodyPr>
            <a:noAutofit/>
          </a:bodyPr>
          <a:lstStyle>
            <a:lvl1pPr marL="474121" indent="-474121">
              <a:spcAft>
                <a:spcPts val="1333"/>
              </a:spcAft>
              <a:buFont typeface="+mj-lt"/>
              <a:buAutoNum type="arabicPeriod"/>
              <a:defRPr sz="1867">
                <a:solidFill>
                  <a:srgbClr val="FFFFFF"/>
                </a:solidFill>
                <a:latin typeface="+mj-lt"/>
              </a:defRPr>
            </a:lvl1pPr>
            <a:lvl2pPr marL="723882" indent="-249760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2pPr>
            <a:lvl3pPr marL="96094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3pPr>
            <a:lvl4pPr marL="1198003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4pPr>
            <a:lvl5pPr marL="1435064" indent="-237061">
              <a:spcAft>
                <a:spcPts val="1333"/>
              </a:spcAft>
              <a:defRPr sz="1867">
                <a:solidFill>
                  <a:srgbClr val="FFFFFF"/>
                </a:solidFill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001" y="5764800"/>
            <a:ext cx="2072260" cy="6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495540"/>
      </p:ext>
    </p:extLst>
  </p:cSld>
  <p:clrMapOvr>
    <a:masterClrMapping/>
  </p:clrMapOvr>
  <p:hf hdr="0" ft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880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/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296408546"/>
      </p:ext>
    </p:extLst>
  </p:cSld>
  <p:clrMapOvr>
    <a:masterClrMapping/>
  </p:clrMapOvr>
  <p:hf hdr="0" ft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04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8870400" y="0"/>
            <a:ext cx="3321600" cy="68592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</p:spTree>
    <p:extLst>
      <p:ext uri="{BB962C8B-B14F-4D97-AF65-F5344CB8AC3E}">
        <p14:creationId xmlns:p14="http://schemas.microsoft.com/office/powerpoint/2010/main" val="355056975"/>
      </p:ext>
    </p:extLst>
  </p:cSld>
  <p:clrMapOvr>
    <a:masterClrMapping/>
  </p:clrMapOvr>
  <p:hf hdr="0" ft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58400" y="1545600"/>
            <a:ext cx="8016000" cy="3432000"/>
          </a:xfrm>
        </p:spPr>
        <p:txBody>
          <a:bodyPr anchor="b" anchorCtr="0">
            <a:noAutofit/>
          </a:bodyPr>
          <a:lstStyle>
            <a:lvl1pPr algn="r">
              <a:lnSpc>
                <a:spcPts val="8533"/>
              </a:lnSpc>
              <a:defRPr sz="8533" b="0" cap="none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8" name="Rechteck 7"/>
          <p:cNvSpPr/>
          <p:nvPr userDrawn="1"/>
        </p:nvSpPr>
        <p:spPr>
          <a:xfrm>
            <a:off x="9878400" y="0"/>
            <a:ext cx="2313600" cy="6859200"/>
          </a:xfrm>
          <a:prstGeom prst="rect">
            <a:avLst/>
          </a:prstGeom>
          <a:solidFill>
            <a:srgbClr val="EA1C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801600" cy="68592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</p:spTree>
    <p:extLst>
      <p:ext uri="{BB962C8B-B14F-4D97-AF65-F5344CB8AC3E}">
        <p14:creationId xmlns:p14="http://schemas.microsoft.com/office/powerpoint/2010/main" val="2980104384"/>
      </p:ext>
    </p:extLst>
  </p:cSld>
  <p:clrMapOvr>
    <a:masterClrMapping/>
  </p:clrMapOvr>
  <p:hf hdr="0" ft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601" y="4348800"/>
            <a:ext cx="2833169" cy="840000"/>
          </a:xfrm>
          <a:prstGeom prst="rect">
            <a:avLst/>
          </a:prstGeom>
        </p:spPr>
      </p:pic>
      <p:grpSp>
        <p:nvGrpSpPr>
          <p:cNvPr id="11" name="Gruppieren 10"/>
          <p:cNvGrpSpPr/>
          <p:nvPr userDrawn="1"/>
        </p:nvGrpSpPr>
        <p:grpSpPr>
          <a:xfrm>
            <a:off x="10632000" y="0"/>
            <a:ext cx="1560000" cy="68592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</p:grp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3739200" y="1545600"/>
            <a:ext cx="6388800" cy="144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EA1C0A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3739200" y="3024000"/>
            <a:ext cx="6388800" cy="1032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EA1C0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422526"/>
      </p:ext>
    </p:extLst>
  </p:cSld>
  <p:clrMapOvr>
    <a:masterClrMapping/>
  </p:clrMapOvr>
  <p:hf hdr="0" ft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1051200" y="0"/>
            <a:ext cx="504000" cy="6859200"/>
          </a:xfrm>
          <a:prstGeom prst="rect">
            <a:avLst/>
          </a:prstGeom>
          <a:solidFill>
            <a:srgbClr val="5CC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9" name="Rechteck 8"/>
          <p:cNvSpPr/>
          <p:nvPr userDrawn="1"/>
        </p:nvSpPr>
        <p:spPr>
          <a:xfrm>
            <a:off x="0" y="0"/>
            <a:ext cx="1051200" cy="6859200"/>
          </a:xfrm>
          <a:prstGeom prst="rect">
            <a:avLst/>
          </a:prstGeom>
          <a:solidFill>
            <a:srgbClr val="E3E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sp>
        <p:nvSpPr>
          <p:cNvPr id="10" name="Rechteck 9"/>
          <p:cNvSpPr/>
          <p:nvPr userDrawn="1"/>
        </p:nvSpPr>
        <p:spPr>
          <a:xfrm>
            <a:off x="8457600" y="0"/>
            <a:ext cx="3734400" cy="6859200"/>
          </a:xfrm>
          <a:prstGeom prst="rect">
            <a:avLst/>
          </a:prstGeom>
          <a:solidFill>
            <a:srgbClr val="B004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/>
          </a:p>
        </p:txBody>
      </p:sp>
      <p:pic>
        <p:nvPicPr>
          <p:cNvPr id="2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1601" y="4348800"/>
            <a:ext cx="2833169" cy="840000"/>
          </a:xfrm>
          <a:prstGeom prst="rect">
            <a:avLst/>
          </a:prstGeom>
        </p:spPr>
      </p:pic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1555200" y="1545600"/>
            <a:ext cx="6388800" cy="1440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8000"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1555200" y="3024000"/>
            <a:ext cx="6388800" cy="1032000"/>
          </a:xfrm>
        </p:spPr>
        <p:txBody>
          <a:bodyPr/>
          <a:lstStyle>
            <a:lvl1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2pPr>
            <a:lvl3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3pPr>
            <a:lvl4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4pPr>
            <a:lvl5pPr algn="r">
              <a:lnSpc>
                <a:spcPct val="100000"/>
              </a:lnSpc>
              <a:spcAft>
                <a:spcPts val="0"/>
              </a:spcAft>
              <a:defRPr sz="3333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3074937"/>
      </p:ext>
    </p:extLst>
  </p:cSld>
  <p:clrMapOvr>
    <a:masterClrMapping/>
  </p:clrMapOvr>
  <p:hf hdr="0" ft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1653" y="504000"/>
            <a:ext cx="3505199" cy="856816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slide title (max. two lines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1652" y="1828800"/>
            <a:ext cx="3505201" cy="4526400"/>
          </a:xfrm>
        </p:spPr>
        <p:txBody>
          <a:bodyPr/>
          <a:lstStyle>
            <a:lvl1pPr>
              <a:lnSpc>
                <a:spcPts val="2333"/>
              </a:lnSpc>
              <a:defRPr sz="1867"/>
            </a:lvl1pPr>
            <a:lvl2pPr>
              <a:lnSpc>
                <a:spcPts val="2333"/>
              </a:lnSpc>
              <a:defRPr sz="1867"/>
            </a:lvl2pPr>
            <a:lvl3pPr>
              <a:lnSpc>
                <a:spcPts val="2333"/>
              </a:lnSpc>
              <a:defRPr sz="1867"/>
            </a:lvl3pPr>
            <a:lvl4pPr>
              <a:lnSpc>
                <a:spcPts val="2333"/>
              </a:lnSpc>
              <a:defRPr sz="1867"/>
            </a:lvl4pPr>
            <a:lvl5pPr>
              <a:lnSpc>
                <a:spcPts val="2333"/>
              </a:lnSpc>
              <a:defRPr sz="1867"/>
            </a:lvl5pPr>
          </a:lstStyle>
          <a:p>
            <a:pPr lvl="0"/>
            <a:r>
              <a:rPr lang="en-GB" noProof="0"/>
              <a:t>Click to edit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/>
              <a:t>27 September, 2022</a:t>
            </a:r>
            <a:endParaRPr lang="en-GB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E.ON advanced chart library</a:t>
            </a:r>
            <a:endParaRPr lang="en-GB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en-GB" noProof="0" smtClean="0"/>
              <a:pPr/>
              <a:t>‹Nr.›</a:t>
            </a:fld>
            <a:endParaRPr lang="en-GB" noProof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96000"/>
            <a:ext cx="7620000" cy="6762000"/>
          </a:xfrm>
        </p:spPr>
        <p:txBody>
          <a:bodyPr tIns="576000" anchor="ctr"/>
          <a:lstStyle>
            <a:lvl1pPr algn="ctr">
              <a:defRPr/>
            </a:lvl1pPr>
          </a:lstStyle>
          <a:p>
            <a:r>
              <a:rPr lang="en-GB" noProof="0"/>
              <a:t>Add image by clicking on icon</a:t>
            </a:r>
          </a:p>
        </p:txBody>
      </p:sp>
    </p:spTree>
    <p:extLst>
      <p:ext uri="{BB962C8B-B14F-4D97-AF65-F5344CB8AC3E}">
        <p14:creationId xmlns:p14="http://schemas.microsoft.com/office/powerpoint/2010/main" val="3562661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5424000" cy="40656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64000" y="1828800"/>
            <a:ext cx="5424000" cy="4065600"/>
          </a:xfrm>
        </p:spPr>
        <p:txBody>
          <a:bodyPr>
            <a:no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7561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40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3440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8188800" y="1828800"/>
            <a:ext cx="3504000" cy="4065600"/>
          </a:xfrm>
        </p:spPr>
        <p:txBody>
          <a:bodyPr>
            <a:noAutofit/>
          </a:bodyPr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97445603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503767" y="1828800"/>
            <a:ext cx="7344000" cy="4531784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8184000" y="1828800"/>
            <a:ext cx="3504000" cy="3504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5799764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84000" y="1828800"/>
            <a:ext cx="3504000" cy="3504000"/>
          </a:xfrm>
        </p:spPr>
        <p:txBody>
          <a:bodyPr/>
          <a:lstStyle>
            <a:lvl1pPr>
              <a:lnSpc>
                <a:spcPts val="1833"/>
              </a:lnSpc>
              <a:defRPr sz="1467"/>
            </a:lvl1pPr>
            <a:lvl2pPr>
              <a:lnSpc>
                <a:spcPts val="1833"/>
              </a:lnSpc>
              <a:defRPr sz="1467"/>
            </a:lvl2pPr>
            <a:lvl3pPr>
              <a:lnSpc>
                <a:spcPts val="1833"/>
              </a:lnSpc>
              <a:defRPr sz="1467"/>
            </a:lvl3pPr>
            <a:lvl4pPr>
              <a:lnSpc>
                <a:spcPts val="1833"/>
              </a:lnSpc>
              <a:defRPr sz="1467"/>
            </a:lvl4pPr>
            <a:lvl5pPr>
              <a:lnSpc>
                <a:spcPts val="1833"/>
              </a:lnSpc>
              <a:defRPr sz="1467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7848000" cy="50304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8184000" y="5414400"/>
            <a:ext cx="3504000" cy="480000"/>
          </a:xfrm>
        </p:spPr>
        <p:txBody>
          <a:bodyPr anchor="b" anchorCtr="0">
            <a:noAutofit/>
          </a:bodyPr>
          <a:lstStyle>
            <a:lvl1pPr>
              <a:defRPr sz="1200">
                <a:solidFill>
                  <a:srgbClr val="B00402"/>
                </a:solidFill>
              </a:defRPr>
            </a:lvl1pPr>
            <a:lvl2pPr>
              <a:defRPr sz="1200">
                <a:solidFill>
                  <a:srgbClr val="B00402"/>
                </a:solidFill>
              </a:defRPr>
            </a:lvl2pPr>
            <a:lvl3pPr>
              <a:defRPr sz="1200">
                <a:solidFill>
                  <a:srgbClr val="B00402"/>
                </a:solidFill>
              </a:defRPr>
            </a:lvl3pPr>
            <a:lvl4pPr>
              <a:defRPr sz="1200">
                <a:solidFill>
                  <a:srgbClr val="B00402"/>
                </a:solidFill>
              </a:defRPr>
            </a:lvl4pPr>
            <a:lvl5pPr>
              <a:defRPr sz="12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2390534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8.12.2017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828800"/>
            <a:ext cx="12192000" cy="50304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8078528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6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image" Target="../media/image6.emf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vmlDrawing" Target="../drawings/vmlDrawing5.vml"/><Relationship Id="rId30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5662080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29" imgW="270" imgH="270" progId="TCLayout.ActiveDocument.1">
                  <p:embed/>
                </p:oleObj>
              </mc:Choice>
              <mc:Fallback>
                <p:oleObj name="think-cell Folie" r:id="rId29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D86D5EDD-32A1-41D1-B3D0-A6AC0C70CEEC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EON Brix Sans Black" panose="020B0A00000000000000" pitchFamily="34" charset="0"/>
              <a:ea typeface="+mj-ea"/>
              <a:cs typeface="+mj-cs"/>
              <a:sym typeface="EON Brix Sans Black" panose="020B0A00000000000000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504000"/>
            <a:ext cx="734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828800"/>
            <a:ext cx="9264000" cy="453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15200" y="6216000"/>
            <a:ext cx="1008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</a:defRPr>
            </a:lvl1pPr>
          </a:lstStyle>
          <a:p>
            <a:r>
              <a:rPr lang="de-DE"/>
              <a:t>08.12.2017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360000" y="691200"/>
            <a:ext cx="2328000" cy="4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23200" y="6216000"/>
            <a:ext cx="3648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683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hdr="0" ftr="0"/>
  <p:txStyles>
    <p:titleStyle>
      <a:lvl1pPr algn="l" defTabSz="1219170" rtl="0" eaLnBrk="1" latinLnBrk="0" hangingPunct="1">
        <a:lnSpc>
          <a:spcPts val="3333"/>
        </a:lnSpc>
        <a:spcBef>
          <a:spcPct val="0"/>
        </a:spcBef>
        <a:buNone/>
        <a:defRPr sz="32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239178" indent="-239177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Clr>
          <a:srgbClr val="EA1C0A"/>
        </a:buClr>
        <a:buFont typeface="EON Brix Sans" panose="020B0500000000000000" pitchFamily="34" charset="0"/>
        <a:buChar char="•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478355" indent="-239178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7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-239178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369F99E-C516-4D4B-A203-AE890820F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7125840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30" imgW="663" imgH="664" progId="TCLayout.ActiveDocument.1">
                  <p:embed/>
                </p:oleObj>
              </mc:Choice>
              <mc:Fallback>
                <p:oleObj name="think-cell Slide" r:id="rId30" imgW="663" imgH="66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369F99E-C516-4D4B-A203-AE890820F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889E32-3D60-422F-A0D2-5ADAB5E7D775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3200" b="0" i="0" baseline="0" dirty="0">
              <a:latin typeface="EON Brix Sans Black" panose="020B0A00000000000000" pitchFamily="34" charset="0"/>
              <a:ea typeface="+mj-ea"/>
              <a:cs typeface="+mj-cs"/>
              <a:sym typeface="EON Brix Sans Black" panose="020B0A00000000000000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04000" y="504000"/>
            <a:ext cx="734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4000" y="1828800"/>
            <a:ext cx="9264000" cy="453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10315200" y="6216000"/>
            <a:ext cx="10080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</a:defRPr>
            </a:lvl1pPr>
          </a:lstStyle>
          <a:p>
            <a:r>
              <a:rPr lang="de-DE"/>
              <a:t>31.10.2019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360000" y="691200"/>
            <a:ext cx="2328000" cy="4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  <a:latin typeface="+mj-lt"/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323200" y="6216000"/>
            <a:ext cx="364800" cy="19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500"/>
              </a:lnSpc>
              <a:defRPr sz="12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8224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2" r:id="rId25"/>
  </p:sldLayoutIdLst>
  <p:hf hdr="0" ftr="0"/>
  <p:txStyles>
    <p:titleStyle>
      <a:lvl1pPr algn="l" defTabSz="1219170" rtl="0" eaLnBrk="1" latinLnBrk="0" hangingPunct="1">
        <a:lnSpc>
          <a:spcPts val="3333"/>
        </a:lnSpc>
        <a:spcBef>
          <a:spcPct val="0"/>
        </a:spcBef>
        <a:buNone/>
        <a:defRPr sz="32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239178" indent="-239177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Clr>
          <a:srgbClr val="EA1C0A"/>
        </a:buClr>
        <a:buFont typeface="EON Brix Sans" panose="020B0500000000000000" pitchFamily="34" charset="0"/>
        <a:buChar char="•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478355" indent="-239178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7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–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956709" indent="-239178" algn="l" defTabSz="1219170" rtl="0" eaLnBrk="1" latinLnBrk="0" hangingPunct="1">
        <a:lnSpc>
          <a:spcPts val="2333"/>
        </a:lnSpc>
        <a:spcBef>
          <a:spcPts val="0"/>
        </a:spcBef>
        <a:spcAft>
          <a:spcPts val="800"/>
        </a:spcAft>
        <a:buFont typeface="Symbol" panose="05050102010706020507" pitchFamily="18" charset="2"/>
        <a:buChar char="-"/>
        <a:defRPr sz="1867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9.xml"/><Relationship Id="rId7" Type="http://schemas.openxmlformats.org/officeDocument/2006/relationships/image" Target="../media/image7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35.xml"/><Relationship Id="rId10" Type="http://schemas.openxmlformats.org/officeDocument/2006/relationships/image" Target="../media/image10.jpeg"/><Relationship Id="rId4" Type="http://schemas.openxmlformats.org/officeDocument/2006/relationships/tags" Target="../tags/tag10.xml"/><Relationship Id="rId9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13.png"/><Relationship Id="rId12" Type="http://schemas.openxmlformats.org/officeDocument/2006/relationships/image" Target="../media/image1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20.png"/><Relationship Id="rId10" Type="http://schemas.openxmlformats.org/officeDocument/2006/relationships/image" Target="../media/image15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Relationship Id="rId14" Type="http://schemas.openxmlformats.org/officeDocument/2006/relationships/image" Target="../media/image1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12.emf"/><Relationship Id="rId10" Type="http://schemas.openxmlformats.org/officeDocument/2006/relationships/image" Target="../media/image2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0.png"/><Relationship Id="rId12" Type="http://schemas.openxmlformats.org/officeDocument/2006/relationships/image" Target="../media/image35.png"/><Relationship Id="rId17" Type="http://schemas.openxmlformats.org/officeDocument/2006/relationships/image" Target="../media/image40.png"/><Relationship Id="rId2" Type="http://schemas.openxmlformats.org/officeDocument/2006/relationships/tags" Target="../tags/tag13.xml"/><Relationship Id="rId16" Type="http://schemas.openxmlformats.org/officeDocument/2006/relationships/image" Target="../media/image39.svg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11" Type="http://schemas.openxmlformats.org/officeDocument/2006/relationships/image" Target="../media/image34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38.png"/><Relationship Id="rId10" Type="http://schemas.openxmlformats.org/officeDocument/2006/relationships/image" Target="../media/image33.png"/><Relationship Id="rId19" Type="http://schemas.openxmlformats.org/officeDocument/2006/relationships/image" Target="../media/image4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32.svg"/><Relationship Id="rId14" Type="http://schemas.openxmlformats.org/officeDocument/2006/relationships/image" Target="../media/image3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EF2035B7-FAE8-480A-A56E-AF54C3EDE6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624" imgH="623" progId="TCLayout.ActiveDocument.1">
                  <p:embed/>
                </p:oleObj>
              </mc:Choice>
              <mc:Fallback>
                <p:oleObj name="think-cell Slide" r:id="rId6" imgW="624" imgH="6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EF2035B7-FAE8-480A-A56E-AF54C3EDE6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hteck 55" hidden="1">
            <a:extLst>
              <a:ext uri="{FF2B5EF4-FFF2-40B4-BE49-F238E27FC236}">
                <a16:creationId xmlns:a16="http://schemas.microsoft.com/office/drawing/2014/main" id="{008D1298-BF45-4E1F-9C60-1F65695127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1219110">
              <a:lnSpc>
                <a:spcPts val="3333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de-DE" sz="3200">
              <a:solidFill>
                <a:srgbClr val="FFFFFF"/>
              </a:solidFill>
              <a:latin typeface="EON Brix Sans Black" panose="020B0A00000000000000" pitchFamily="34" charset="0"/>
              <a:sym typeface="EON Brix Sans Black" panose="020B0A00000000000000" pitchFamily="34" charset="0"/>
            </a:endParaRPr>
          </a:p>
        </p:txBody>
      </p:sp>
      <p:cxnSp>
        <p:nvCxnSpPr>
          <p:cNvPr id="40" name="Straight Connector 64">
            <a:extLst>
              <a:ext uri="{FF2B5EF4-FFF2-40B4-BE49-F238E27FC236}">
                <a16:creationId xmlns:a16="http://schemas.microsoft.com/office/drawing/2014/main" id="{6AD954F7-B5A1-4F49-BF32-11FF3E2A85AA}"/>
              </a:ext>
            </a:extLst>
          </p:cNvPr>
          <p:cNvCxnSpPr>
            <a:cxnSpLocks/>
          </p:cNvCxnSpPr>
          <p:nvPr/>
        </p:nvCxnSpPr>
        <p:spPr>
          <a:xfrm flipH="1">
            <a:off x="2287388" y="4692435"/>
            <a:ext cx="7560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64">
            <a:extLst>
              <a:ext uri="{FF2B5EF4-FFF2-40B4-BE49-F238E27FC236}">
                <a16:creationId xmlns:a16="http://schemas.microsoft.com/office/drawing/2014/main" id="{5AF9EB14-2A3E-4A41-BDF3-4B791692BAAD}"/>
              </a:ext>
            </a:extLst>
          </p:cNvPr>
          <p:cNvCxnSpPr>
            <a:cxnSpLocks/>
          </p:cNvCxnSpPr>
          <p:nvPr/>
        </p:nvCxnSpPr>
        <p:spPr>
          <a:xfrm>
            <a:off x="9843887" y="4677673"/>
            <a:ext cx="0" cy="29741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64">
            <a:extLst>
              <a:ext uri="{FF2B5EF4-FFF2-40B4-BE49-F238E27FC236}">
                <a16:creationId xmlns:a16="http://schemas.microsoft.com/office/drawing/2014/main" id="{35BEC6E3-5409-4187-9D04-CC594A091C90}"/>
              </a:ext>
            </a:extLst>
          </p:cNvPr>
          <p:cNvCxnSpPr>
            <a:cxnSpLocks/>
          </p:cNvCxnSpPr>
          <p:nvPr/>
        </p:nvCxnSpPr>
        <p:spPr>
          <a:xfrm>
            <a:off x="2300087" y="4690373"/>
            <a:ext cx="0" cy="29741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64">
            <a:extLst>
              <a:ext uri="{FF2B5EF4-FFF2-40B4-BE49-F238E27FC236}">
                <a16:creationId xmlns:a16="http://schemas.microsoft.com/office/drawing/2014/main" id="{049CF78A-1DE6-46BC-B6B3-34FBB76141DE}"/>
              </a:ext>
            </a:extLst>
          </p:cNvPr>
          <p:cNvCxnSpPr>
            <a:cxnSpLocks/>
          </p:cNvCxnSpPr>
          <p:nvPr/>
        </p:nvCxnSpPr>
        <p:spPr>
          <a:xfrm>
            <a:off x="6070600" y="4490869"/>
            <a:ext cx="0" cy="479079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6" name="Rectangle 34">
            <a:extLst>
              <a:ext uri="{FF2B5EF4-FFF2-40B4-BE49-F238E27FC236}">
                <a16:creationId xmlns:a16="http://schemas.microsoft.com/office/drawing/2014/main" id="{86A10467-CD02-FC31-7B1C-2CDAD3DDEE9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23257" y="1173128"/>
            <a:ext cx="3243459" cy="1387257"/>
          </a:xfrm>
          <a:prstGeom prst="roundRect">
            <a:avLst>
              <a:gd name="adj" fmla="val 9331"/>
            </a:avLst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96000" tIns="48000" rIns="96000" bIns="48000" anchor="t">
            <a:noAutofit/>
          </a:bodyPr>
          <a:lstStyle/>
          <a:p>
            <a:pPr>
              <a:spcAft>
                <a:spcPts val="800"/>
              </a:spcAft>
            </a:pPr>
            <a:r>
              <a:rPr lang="en-GB" sz="1467" dirty="0">
                <a:solidFill>
                  <a:schemeClr val="accent1"/>
                </a:solidFill>
                <a:latin typeface="+mj-lt"/>
              </a:rPr>
              <a:t>E.ON</a:t>
            </a:r>
          </a:p>
          <a:p>
            <a:pPr marL="239994" indent="-239994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GB" sz="1467" dirty="0">
                <a:solidFill>
                  <a:schemeClr val="accent1"/>
                </a:solidFill>
              </a:rPr>
              <a:t>15 countries</a:t>
            </a:r>
          </a:p>
          <a:p>
            <a:pPr marL="239994" indent="-239994" defTabSz="121911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chemeClr val="accent1"/>
                </a:solidFill>
                <a:latin typeface="EON Brix Sans"/>
                <a:ea typeface="EON Brix Sans" charset="0"/>
                <a:cs typeface="EON Brix Sans" charset="0"/>
              </a:rPr>
              <a:t>~</a:t>
            </a:r>
            <a:r>
              <a:rPr lang="de-DE" sz="1467" dirty="0">
                <a:solidFill>
                  <a:schemeClr val="accent1"/>
                </a:solidFill>
                <a:latin typeface="EON Brix Sans"/>
              </a:rPr>
              <a:t>78.000 </a:t>
            </a:r>
            <a:r>
              <a:rPr lang="de-DE" sz="1467" dirty="0" err="1">
                <a:solidFill>
                  <a:schemeClr val="accent1"/>
                </a:solidFill>
                <a:latin typeface="EON Brix Sans"/>
              </a:rPr>
              <a:t>employees</a:t>
            </a:r>
            <a:endParaRPr lang="de-DE" sz="1467" dirty="0">
              <a:solidFill>
                <a:schemeClr val="accent1"/>
              </a:solidFill>
              <a:latin typeface="EON Brix Sans"/>
            </a:endParaRPr>
          </a:p>
          <a:p>
            <a:pPr marL="239994" indent="-239994" defTabSz="1219110"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chemeClr val="accent1"/>
                </a:solidFill>
                <a:latin typeface="EON Brix Sans"/>
              </a:rPr>
              <a:t>41.5 </a:t>
            </a:r>
            <a:r>
              <a:rPr lang="de-DE" sz="1467" dirty="0" err="1">
                <a:solidFill>
                  <a:schemeClr val="accent1"/>
                </a:solidFill>
                <a:latin typeface="EON Brix Sans"/>
              </a:rPr>
              <a:t>bln</a:t>
            </a:r>
            <a:r>
              <a:rPr lang="de-DE" sz="1467" dirty="0">
                <a:solidFill>
                  <a:schemeClr val="accent1"/>
                </a:solidFill>
                <a:latin typeface="EON Brix Sans"/>
              </a:rPr>
              <a:t> € </a:t>
            </a:r>
            <a:r>
              <a:rPr lang="de-DE" sz="1467" dirty="0" err="1">
                <a:solidFill>
                  <a:schemeClr val="accent1"/>
                </a:solidFill>
                <a:latin typeface="EON Brix Sans"/>
              </a:rPr>
              <a:t>turnover</a:t>
            </a:r>
            <a:endParaRPr lang="de-DE" sz="1467" dirty="0">
              <a:solidFill>
                <a:schemeClr val="accent1"/>
              </a:solidFill>
              <a:latin typeface="EON Brix Sans"/>
            </a:endParaRPr>
          </a:p>
          <a:p>
            <a:pPr marL="380990" indent="-380990" algn="ctr">
              <a:buFont typeface="Arial" panose="020B0604020202020204" pitchFamily="34" charset="0"/>
              <a:buChar char="•"/>
            </a:pPr>
            <a:endParaRPr lang="en-GB" sz="1733" dirty="0">
              <a:solidFill>
                <a:schemeClr val="accent1"/>
              </a:solidFill>
              <a:latin typeface="+mj-lt"/>
            </a:endParaRPr>
          </a:p>
          <a:p>
            <a:pPr marL="380990" indent="-380990" algn="ctr">
              <a:buFont typeface="Arial" panose="020B0604020202020204" pitchFamily="34" charset="0"/>
              <a:buChar char="•"/>
            </a:pPr>
            <a:endParaRPr lang="en-GB" sz="1733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473" name="Picture 54">
            <a:extLst>
              <a:ext uri="{FF2B5EF4-FFF2-40B4-BE49-F238E27FC236}">
                <a16:creationId xmlns:a16="http://schemas.microsoft.com/office/drawing/2014/main" id="{3F28BA27-1045-121D-26B1-B69A64808C2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2" b="5442"/>
          <a:stretch/>
        </p:blipFill>
        <p:spPr bwMode="gray">
          <a:xfrm>
            <a:off x="975721" y="2855397"/>
            <a:ext cx="2832000" cy="1593001"/>
          </a:xfrm>
          <a:prstGeom prst="round2SameRect">
            <a:avLst>
              <a:gd name="adj1" fmla="val 7193"/>
              <a:gd name="adj2" fmla="val 0"/>
            </a:avLst>
          </a:prstGeom>
        </p:spPr>
      </p:pic>
      <p:sp>
        <p:nvSpPr>
          <p:cNvPr id="483" name="Titel 1">
            <a:extLst>
              <a:ext uri="{FF2B5EF4-FFF2-40B4-BE49-F238E27FC236}">
                <a16:creationId xmlns:a16="http://schemas.microsoft.com/office/drawing/2014/main" id="{FF1AAC94-B0C0-E638-CDC4-BDCC0D47E29D}"/>
              </a:ext>
            </a:extLst>
          </p:cNvPr>
          <p:cNvSpPr txBox="1">
            <a:spLocks/>
          </p:cNvSpPr>
          <p:nvPr/>
        </p:nvSpPr>
        <p:spPr>
          <a:xfrm>
            <a:off x="536800" y="346011"/>
            <a:ext cx="11180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rgbClr val="EA1C0A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219110">
              <a:lnSpc>
                <a:spcPts val="4000"/>
              </a:lnSpc>
              <a:defRPr/>
            </a:pPr>
            <a:r>
              <a:rPr lang="de-DE" sz="3200" kern="1200" dirty="0">
                <a:solidFill>
                  <a:schemeClr val="accent1"/>
                </a:solidFill>
                <a:latin typeface="EON Brix Sans Black"/>
              </a:rPr>
              <a:t>E.ON – a </a:t>
            </a:r>
            <a:r>
              <a:rPr lang="de-DE" sz="3200" kern="1200" dirty="0" err="1">
                <a:solidFill>
                  <a:schemeClr val="accent1"/>
                </a:solidFill>
                <a:latin typeface="EON Brix Sans Black"/>
              </a:rPr>
              <a:t>major</a:t>
            </a:r>
            <a:r>
              <a:rPr lang="de-DE" sz="3200" kern="1200" dirty="0">
                <a:solidFill>
                  <a:schemeClr val="accent1"/>
                </a:solidFill>
                <a:latin typeface="EON Brix Sans Black"/>
              </a:rPr>
              <a:t> European </a:t>
            </a:r>
            <a:r>
              <a:rPr lang="de-DE" sz="3200" kern="1200" dirty="0" err="1">
                <a:solidFill>
                  <a:schemeClr val="accent1"/>
                </a:solidFill>
                <a:latin typeface="EON Brix Sans Black"/>
              </a:rPr>
              <a:t>Grid</a:t>
            </a:r>
            <a:r>
              <a:rPr lang="de-DE" sz="3200" kern="1200" dirty="0">
                <a:solidFill>
                  <a:schemeClr val="accent1"/>
                </a:solidFill>
                <a:latin typeface="EON Brix Sans Black"/>
              </a:rPr>
              <a:t> Operator and Energy Group</a:t>
            </a:r>
          </a:p>
        </p:txBody>
      </p:sp>
      <p:pic>
        <p:nvPicPr>
          <p:cNvPr id="484" name="Picture 54">
            <a:extLst>
              <a:ext uri="{FF2B5EF4-FFF2-40B4-BE49-F238E27FC236}">
                <a16:creationId xmlns:a16="http://schemas.microsoft.com/office/drawing/2014/main" id="{18B18B8D-72C5-F44F-5D98-669C12881BF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70" b="6870"/>
          <a:stretch/>
        </p:blipFill>
        <p:spPr bwMode="gray">
          <a:xfrm>
            <a:off x="4689088" y="2855738"/>
            <a:ext cx="2832000" cy="1593001"/>
          </a:xfrm>
          <a:prstGeom prst="round2SameRect">
            <a:avLst>
              <a:gd name="adj1" fmla="val 7193"/>
              <a:gd name="adj2" fmla="val 0"/>
            </a:avLst>
          </a:prstGeom>
        </p:spPr>
      </p:pic>
      <p:pic>
        <p:nvPicPr>
          <p:cNvPr id="485" name="Picture 54">
            <a:extLst>
              <a:ext uri="{FF2B5EF4-FFF2-40B4-BE49-F238E27FC236}">
                <a16:creationId xmlns:a16="http://schemas.microsoft.com/office/drawing/2014/main" id="{333733B3-6CC5-749C-0F04-4F9770EC293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95" b="7795"/>
          <a:stretch/>
        </p:blipFill>
        <p:spPr bwMode="gray">
          <a:xfrm>
            <a:off x="8427516" y="2855738"/>
            <a:ext cx="2832000" cy="1593001"/>
          </a:xfrm>
          <a:prstGeom prst="round2SameRect">
            <a:avLst>
              <a:gd name="adj1" fmla="val 7193"/>
              <a:gd name="adj2" fmla="val 0"/>
            </a:avLst>
          </a:prstGeom>
        </p:spPr>
      </p:pic>
      <p:sp>
        <p:nvSpPr>
          <p:cNvPr id="472" name="Richtungspfeil 29">
            <a:extLst>
              <a:ext uri="{FF2B5EF4-FFF2-40B4-BE49-F238E27FC236}">
                <a16:creationId xmlns:a16="http://schemas.microsoft.com/office/drawing/2014/main" id="{B1BFC896-CBBE-9687-E51F-05188510ADEE}"/>
              </a:ext>
            </a:extLst>
          </p:cNvPr>
          <p:cNvSpPr/>
          <p:nvPr/>
        </p:nvSpPr>
        <p:spPr bwMode="gray">
          <a:xfrm>
            <a:off x="975722" y="4328034"/>
            <a:ext cx="2830577" cy="2025153"/>
          </a:xfrm>
          <a:prstGeom prst="round2SameRect">
            <a:avLst>
              <a:gd name="adj1" fmla="val 0"/>
              <a:gd name="adj2" fmla="val 4644"/>
            </a:avLst>
          </a:prstGeom>
          <a:solidFill>
            <a:srgbClr val="EDE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en-GB" sz="1467" dirty="0">
                <a:solidFill>
                  <a:schemeClr val="tx1"/>
                </a:solidFill>
                <a:latin typeface="+mj-lt"/>
              </a:rPr>
              <a:t>Energy grids</a:t>
            </a:r>
          </a:p>
          <a:p>
            <a:pPr marL="239994" indent="-239994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European Network </a:t>
            </a:r>
            <a:br>
              <a:rPr lang="de-DE" sz="1467" dirty="0">
                <a:solidFill>
                  <a:srgbClr val="000000"/>
                </a:solidFill>
                <a:latin typeface="EON Brix Sans"/>
              </a:rPr>
            </a:br>
            <a:r>
              <a:rPr lang="de-DE" sz="1467" dirty="0">
                <a:solidFill>
                  <a:srgbClr val="000000"/>
                </a:solidFill>
                <a:latin typeface="EON Brix Sans"/>
              </a:rPr>
              <a:t>Operator #1</a:t>
            </a:r>
          </a:p>
          <a:p>
            <a:pPr marL="239994" indent="-239994" defTabSz="1219110"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&gt;500.000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connected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assets</a:t>
            </a:r>
            <a:endParaRPr lang="de-DE" sz="1467" dirty="0">
              <a:solidFill>
                <a:srgbClr val="000000"/>
              </a:solidFill>
              <a:latin typeface="EON Brix Sans"/>
            </a:endParaRPr>
          </a:p>
          <a:p>
            <a:pPr marL="239994" indent="-239994" defTabSz="1219110"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1.6 Mio. km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energy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networks</a:t>
            </a:r>
            <a:endParaRPr lang="de-DE" sz="1467" dirty="0">
              <a:solidFill>
                <a:srgbClr val="000000"/>
              </a:solidFill>
              <a:latin typeface="EON Brix Sans"/>
            </a:endParaRPr>
          </a:p>
        </p:txBody>
      </p:sp>
      <p:sp>
        <p:nvSpPr>
          <p:cNvPr id="481" name="Richtungspfeil 29">
            <a:extLst>
              <a:ext uri="{FF2B5EF4-FFF2-40B4-BE49-F238E27FC236}">
                <a16:creationId xmlns:a16="http://schemas.microsoft.com/office/drawing/2014/main" id="{72E78D6A-EE55-33D9-77CF-D8DDF8E842D0}"/>
              </a:ext>
            </a:extLst>
          </p:cNvPr>
          <p:cNvSpPr/>
          <p:nvPr/>
        </p:nvSpPr>
        <p:spPr bwMode="gray">
          <a:xfrm>
            <a:off x="8427516" y="4327587"/>
            <a:ext cx="2832000" cy="2025600"/>
          </a:xfrm>
          <a:prstGeom prst="round2SameRect">
            <a:avLst>
              <a:gd name="adj1" fmla="val 0"/>
              <a:gd name="adj2" fmla="val 4644"/>
            </a:avLst>
          </a:prstGeom>
          <a:solidFill>
            <a:srgbClr val="7FC7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en-GB" sz="1467" dirty="0">
                <a:solidFill>
                  <a:schemeClr val="tx1"/>
                </a:solidFill>
                <a:latin typeface="+mj-lt"/>
              </a:rPr>
              <a:t>Energy Infrastructure Solutions</a:t>
            </a:r>
          </a:p>
          <a:p>
            <a:pPr marL="239994" indent="-239994" defTabSz="1219110">
              <a:spcBef>
                <a:spcPts val="800"/>
              </a:spcBef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&gt;500.000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heat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customers</a:t>
            </a:r>
            <a:endParaRPr lang="de-DE" sz="1467" dirty="0">
              <a:solidFill>
                <a:srgbClr val="000000"/>
              </a:solidFill>
              <a:latin typeface="EON Brix Sans"/>
            </a:endParaRPr>
          </a:p>
          <a:p>
            <a:pPr marL="239994" indent="-239994" defTabSz="1219110">
              <a:spcBef>
                <a:spcPts val="800"/>
              </a:spcBef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6000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employees</a:t>
            </a:r>
            <a:endParaRPr lang="de-DE" sz="1467" dirty="0">
              <a:solidFill>
                <a:srgbClr val="000000"/>
              </a:solidFill>
              <a:latin typeface="EON Brix Sans"/>
            </a:endParaRPr>
          </a:p>
          <a:p>
            <a:pPr marL="239994" indent="-239994" defTabSz="1219110">
              <a:spcBef>
                <a:spcPts val="800"/>
              </a:spcBef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&gt;5700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asset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 / 5000 km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grids</a:t>
            </a:r>
            <a:endParaRPr lang="de-DE" sz="1467" dirty="0">
              <a:solidFill>
                <a:srgbClr val="000000"/>
              </a:solidFill>
              <a:latin typeface="EON Brix Sans"/>
            </a:endParaRPr>
          </a:p>
          <a:p>
            <a:pPr marL="239994" indent="-239994" defTabSz="1219110"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rgbClr val="000000"/>
                </a:solidFill>
                <a:latin typeface="EON Brix Sans"/>
              </a:rPr>
              <a:t>500 – 650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Mln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. € </a:t>
            </a:r>
            <a:r>
              <a:rPr lang="de-DE" sz="1467" dirty="0" err="1">
                <a:solidFill>
                  <a:srgbClr val="000000"/>
                </a:solidFill>
                <a:latin typeface="EON Brix Sans"/>
              </a:rPr>
              <a:t>Invest</a:t>
            </a:r>
            <a:r>
              <a:rPr lang="de-DE" sz="1467" dirty="0">
                <a:solidFill>
                  <a:srgbClr val="000000"/>
                </a:solidFill>
                <a:latin typeface="EON Brix Sans"/>
              </a:rPr>
              <a:t> p.a.</a:t>
            </a:r>
          </a:p>
          <a:p>
            <a:pPr marL="380990" indent="-380990" algn="ctr">
              <a:buFont typeface="Arial" panose="020B0604020202020204" pitchFamily="34" charset="0"/>
              <a:buChar char="•"/>
            </a:pPr>
            <a:endParaRPr lang="en-GB" sz="1467" dirty="0">
              <a:solidFill>
                <a:sysClr val="windowText" lastClr="000000"/>
              </a:solidFill>
              <a:latin typeface="+mj-lt"/>
            </a:endParaRPr>
          </a:p>
        </p:txBody>
      </p:sp>
      <p:sp>
        <p:nvSpPr>
          <p:cNvPr id="475" name="Richtungspfeil 29">
            <a:extLst>
              <a:ext uri="{FF2B5EF4-FFF2-40B4-BE49-F238E27FC236}">
                <a16:creationId xmlns:a16="http://schemas.microsoft.com/office/drawing/2014/main" id="{425A52B0-222D-115A-545D-3B6FC9996824}"/>
              </a:ext>
            </a:extLst>
          </p:cNvPr>
          <p:cNvSpPr/>
          <p:nvPr/>
        </p:nvSpPr>
        <p:spPr bwMode="gray">
          <a:xfrm>
            <a:off x="4689729" y="4327587"/>
            <a:ext cx="2832000" cy="2025600"/>
          </a:xfrm>
          <a:prstGeom prst="round2SameRect">
            <a:avLst>
              <a:gd name="adj1" fmla="val 0"/>
              <a:gd name="adj2" fmla="val 4644"/>
            </a:avLst>
          </a:prstGeom>
          <a:solidFill>
            <a:srgbClr val="F59A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/>
          <a:lstStyle/>
          <a:p>
            <a:r>
              <a:rPr lang="en-GB" sz="1467" dirty="0">
                <a:solidFill>
                  <a:schemeClr val="tx1"/>
                </a:solidFill>
                <a:latin typeface="+mj-lt"/>
              </a:rPr>
              <a:t>Customer Solutions</a:t>
            </a:r>
          </a:p>
          <a:p>
            <a:pPr marL="228594" indent="-228594">
              <a:spcBef>
                <a:spcPts val="80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e-DE" sz="1467" dirty="0">
                <a:solidFill>
                  <a:sysClr val="windowText" lastClr="000000"/>
                </a:solidFill>
                <a:latin typeface="EON Brix Sans"/>
              </a:rPr>
              <a:t>Leading European </a:t>
            </a:r>
            <a:r>
              <a:rPr lang="de-DE" sz="1467" dirty="0" err="1">
                <a:solidFill>
                  <a:sysClr val="windowText" lastClr="000000"/>
                </a:solidFill>
                <a:latin typeface="EON Brix Sans"/>
              </a:rPr>
              <a:t>energy</a:t>
            </a:r>
            <a:r>
              <a:rPr lang="de-DE" sz="1467" dirty="0">
                <a:solidFill>
                  <a:sysClr val="windowText" lastClr="000000"/>
                </a:solidFill>
                <a:latin typeface="EON Brix Sans"/>
              </a:rPr>
              <a:t> supplier</a:t>
            </a:r>
          </a:p>
          <a:p>
            <a:pPr marL="239994" indent="-239994" defTabSz="1219110">
              <a:spcAft>
                <a:spcPts val="800"/>
              </a:spcAft>
              <a:buClr>
                <a:srgbClr val="000000"/>
              </a:buClr>
              <a:buFont typeface="Arial" panose="020B0604020202020204" pitchFamily="34" charset="0"/>
              <a:buChar char="•"/>
              <a:defRPr/>
            </a:pPr>
            <a:r>
              <a:rPr lang="de-DE" sz="1467" dirty="0">
                <a:solidFill>
                  <a:sysClr val="windowText" lastClr="000000"/>
                </a:solidFill>
                <a:latin typeface="EON Brix Sans"/>
              </a:rPr>
              <a:t>~51 Mio. </a:t>
            </a:r>
            <a:r>
              <a:rPr lang="de-DE" sz="1467" dirty="0" err="1">
                <a:solidFill>
                  <a:sysClr val="windowText" lastClr="000000"/>
                </a:solidFill>
                <a:latin typeface="EON Brix Sans"/>
              </a:rPr>
              <a:t>customers</a:t>
            </a:r>
            <a:endParaRPr lang="de-DE" sz="1467" dirty="0">
              <a:solidFill>
                <a:sysClr val="windowText" lastClr="000000"/>
              </a:solidFill>
              <a:latin typeface="EON Brix Sans"/>
            </a:endParaRPr>
          </a:p>
        </p:txBody>
      </p:sp>
      <p:grpSp>
        <p:nvGrpSpPr>
          <p:cNvPr id="486" name="Gruppieren 485">
            <a:extLst>
              <a:ext uri="{FF2B5EF4-FFF2-40B4-BE49-F238E27FC236}">
                <a16:creationId xmlns:a16="http://schemas.microsoft.com/office/drawing/2014/main" id="{9678507D-237C-4430-E581-4FE3E2372412}"/>
              </a:ext>
            </a:extLst>
          </p:cNvPr>
          <p:cNvGrpSpPr/>
          <p:nvPr/>
        </p:nvGrpSpPr>
        <p:grpSpPr>
          <a:xfrm>
            <a:off x="6251579" y="783234"/>
            <a:ext cx="2401200" cy="1827633"/>
            <a:chOff x="851150" y="1284187"/>
            <a:chExt cx="1800900" cy="1370725"/>
          </a:xfrm>
        </p:grpSpPr>
        <p:sp>
          <p:nvSpPr>
            <p:cNvPr id="487" name="Oval 8">
              <a:extLst>
                <a:ext uri="{FF2B5EF4-FFF2-40B4-BE49-F238E27FC236}">
                  <a16:creationId xmlns:a16="http://schemas.microsoft.com/office/drawing/2014/main" id="{0A876EA2-28F2-0F8F-076C-1E35A9FDFBFD}"/>
                </a:ext>
              </a:extLst>
            </p:cNvPr>
            <p:cNvSpPr/>
            <p:nvPr/>
          </p:nvSpPr>
          <p:spPr>
            <a:xfrm>
              <a:off x="851150" y="1284187"/>
              <a:ext cx="1412665" cy="1291914"/>
            </a:xfrm>
            <a:prstGeom prst="ellipse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10">
                <a:defRPr/>
              </a:pPr>
              <a:endParaRPr lang="en-US" sz="1333" dirty="0">
                <a:solidFill>
                  <a:srgbClr val="FFFFFF"/>
                </a:solidFill>
                <a:latin typeface="EON Brix Sans"/>
              </a:endParaRPr>
            </a:p>
          </p:txBody>
        </p:sp>
        <p:grpSp>
          <p:nvGrpSpPr>
            <p:cNvPr id="488" name="Gruppieren 274">
              <a:extLst>
                <a:ext uri="{FF2B5EF4-FFF2-40B4-BE49-F238E27FC236}">
                  <a16:creationId xmlns:a16="http://schemas.microsoft.com/office/drawing/2014/main" id="{83081C65-6FFC-57BD-8723-DA2944F7478C}"/>
                </a:ext>
              </a:extLst>
            </p:cNvPr>
            <p:cNvGrpSpPr/>
            <p:nvPr/>
          </p:nvGrpSpPr>
          <p:grpSpPr>
            <a:xfrm>
              <a:off x="1082948" y="1399930"/>
              <a:ext cx="1569102" cy="1254982"/>
              <a:chOff x="1990283" y="1727689"/>
              <a:chExt cx="4488737" cy="4513385"/>
            </a:xfrm>
            <a:solidFill>
              <a:schemeClr val="bg2">
                <a:lumMod val="50000"/>
              </a:schemeClr>
            </a:solidFill>
          </p:grpSpPr>
          <p:grpSp>
            <p:nvGrpSpPr>
              <p:cNvPr id="491" name="Gruppieren 276">
                <a:extLst>
                  <a:ext uri="{FF2B5EF4-FFF2-40B4-BE49-F238E27FC236}">
                    <a16:creationId xmlns:a16="http://schemas.microsoft.com/office/drawing/2014/main" id="{FEC5B871-40E8-C95F-3CCD-820D49B7717B}"/>
                  </a:ext>
                </a:extLst>
              </p:cNvPr>
              <p:cNvGrpSpPr/>
              <p:nvPr/>
            </p:nvGrpSpPr>
            <p:grpSpPr bwMode="gray">
              <a:xfrm>
                <a:off x="4268541" y="3516099"/>
                <a:ext cx="408208" cy="308081"/>
                <a:chOff x="4259264" y="3548063"/>
                <a:chExt cx="420688" cy="317500"/>
              </a:xfrm>
              <a:grpFill/>
            </p:grpSpPr>
            <p:sp>
              <p:nvSpPr>
                <p:cNvPr id="703" name="Freeform 9">
                  <a:extLst>
                    <a:ext uri="{FF2B5EF4-FFF2-40B4-BE49-F238E27FC236}">
                      <a16:creationId xmlns:a16="http://schemas.microsoft.com/office/drawing/2014/main" id="{D2C4F0E0-5401-02DE-B0AA-0E1991A331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54514" y="3548063"/>
                  <a:ext cx="325438" cy="317500"/>
                </a:xfrm>
                <a:custGeom>
                  <a:avLst/>
                  <a:gdLst>
                    <a:gd name="T0" fmla="*/ 76 w 78"/>
                    <a:gd name="T1" fmla="*/ 3 h 76"/>
                    <a:gd name="T2" fmla="*/ 74 w 78"/>
                    <a:gd name="T3" fmla="*/ 9 h 76"/>
                    <a:gd name="T4" fmla="*/ 68 w 78"/>
                    <a:gd name="T5" fmla="*/ 8 h 76"/>
                    <a:gd name="T6" fmla="*/ 61 w 78"/>
                    <a:gd name="T7" fmla="*/ 8 h 76"/>
                    <a:gd name="T8" fmla="*/ 56 w 78"/>
                    <a:gd name="T9" fmla="*/ 6 h 76"/>
                    <a:gd name="T10" fmla="*/ 51 w 78"/>
                    <a:gd name="T11" fmla="*/ 5 h 76"/>
                    <a:gd name="T12" fmla="*/ 46 w 78"/>
                    <a:gd name="T13" fmla="*/ 2 h 76"/>
                    <a:gd name="T14" fmla="*/ 39 w 78"/>
                    <a:gd name="T15" fmla="*/ 3 h 76"/>
                    <a:gd name="T16" fmla="*/ 35 w 78"/>
                    <a:gd name="T17" fmla="*/ 2 h 76"/>
                    <a:gd name="T18" fmla="*/ 33 w 78"/>
                    <a:gd name="T19" fmla="*/ 5 h 76"/>
                    <a:gd name="T20" fmla="*/ 27 w 78"/>
                    <a:gd name="T21" fmla="*/ 6 h 76"/>
                    <a:gd name="T22" fmla="*/ 18 w 78"/>
                    <a:gd name="T23" fmla="*/ 6 h 76"/>
                    <a:gd name="T24" fmla="*/ 13 w 78"/>
                    <a:gd name="T25" fmla="*/ 9 h 76"/>
                    <a:gd name="T26" fmla="*/ 10 w 78"/>
                    <a:gd name="T27" fmla="*/ 12 h 76"/>
                    <a:gd name="T28" fmla="*/ 9 w 78"/>
                    <a:gd name="T29" fmla="*/ 14 h 76"/>
                    <a:gd name="T30" fmla="*/ 6 w 78"/>
                    <a:gd name="T31" fmla="*/ 15 h 76"/>
                    <a:gd name="T32" fmla="*/ 2 w 78"/>
                    <a:gd name="T33" fmla="*/ 16 h 76"/>
                    <a:gd name="T34" fmla="*/ 2 w 78"/>
                    <a:gd name="T35" fmla="*/ 21 h 76"/>
                    <a:gd name="T36" fmla="*/ 4 w 78"/>
                    <a:gd name="T37" fmla="*/ 24 h 76"/>
                    <a:gd name="T38" fmla="*/ 2 w 78"/>
                    <a:gd name="T39" fmla="*/ 30 h 76"/>
                    <a:gd name="T40" fmla="*/ 7 w 78"/>
                    <a:gd name="T41" fmla="*/ 32 h 76"/>
                    <a:gd name="T42" fmla="*/ 8 w 78"/>
                    <a:gd name="T43" fmla="*/ 33 h 76"/>
                    <a:gd name="T44" fmla="*/ 4 w 78"/>
                    <a:gd name="T45" fmla="*/ 35 h 76"/>
                    <a:gd name="T46" fmla="*/ 4 w 78"/>
                    <a:gd name="T47" fmla="*/ 39 h 76"/>
                    <a:gd name="T48" fmla="*/ 7 w 78"/>
                    <a:gd name="T49" fmla="*/ 42 h 76"/>
                    <a:gd name="T50" fmla="*/ 10 w 78"/>
                    <a:gd name="T51" fmla="*/ 48 h 76"/>
                    <a:gd name="T52" fmla="*/ 16 w 78"/>
                    <a:gd name="T53" fmla="*/ 50 h 76"/>
                    <a:gd name="T54" fmla="*/ 20 w 78"/>
                    <a:gd name="T55" fmla="*/ 45 h 76"/>
                    <a:gd name="T56" fmla="*/ 21 w 78"/>
                    <a:gd name="T57" fmla="*/ 48 h 76"/>
                    <a:gd name="T58" fmla="*/ 20 w 78"/>
                    <a:gd name="T59" fmla="*/ 59 h 76"/>
                    <a:gd name="T60" fmla="*/ 19 w 78"/>
                    <a:gd name="T61" fmla="*/ 63 h 76"/>
                    <a:gd name="T62" fmla="*/ 26 w 78"/>
                    <a:gd name="T63" fmla="*/ 59 h 76"/>
                    <a:gd name="T64" fmla="*/ 32 w 78"/>
                    <a:gd name="T65" fmla="*/ 56 h 76"/>
                    <a:gd name="T66" fmla="*/ 36 w 78"/>
                    <a:gd name="T67" fmla="*/ 58 h 76"/>
                    <a:gd name="T68" fmla="*/ 39 w 78"/>
                    <a:gd name="T69" fmla="*/ 59 h 76"/>
                    <a:gd name="T70" fmla="*/ 45 w 78"/>
                    <a:gd name="T71" fmla="*/ 64 h 76"/>
                    <a:gd name="T72" fmla="*/ 53 w 78"/>
                    <a:gd name="T73" fmla="*/ 71 h 76"/>
                    <a:gd name="T74" fmla="*/ 59 w 78"/>
                    <a:gd name="T75" fmla="*/ 74 h 76"/>
                    <a:gd name="T76" fmla="*/ 65 w 78"/>
                    <a:gd name="T77" fmla="*/ 72 h 76"/>
                    <a:gd name="T78" fmla="*/ 72 w 78"/>
                    <a:gd name="T79" fmla="*/ 74 h 76"/>
                    <a:gd name="T80" fmla="*/ 72 w 78"/>
                    <a:gd name="T81" fmla="*/ 68 h 76"/>
                    <a:gd name="T82" fmla="*/ 77 w 78"/>
                    <a:gd name="T83" fmla="*/ 61 h 76"/>
                    <a:gd name="T84" fmla="*/ 74 w 78"/>
                    <a:gd name="T85" fmla="*/ 57 h 76"/>
                    <a:gd name="T86" fmla="*/ 72 w 78"/>
                    <a:gd name="T87" fmla="*/ 53 h 76"/>
                    <a:gd name="T88" fmla="*/ 71 w 78"/>
                    <a:gd name="T89" fmla="*/ 46 h 76"/>
                    <a:gd name="T90" fmla="*/ 70 w 78"/>
                    <a:gd name="T91" fmla="*/ 37 h 76"/>
                    <a:gd name="T92" fmla="*/ 69 w 78"/>
                    <a:gd name="T93" fmla="*/ 27 h 76"/>
                    <a:gd name="T94" fmla="*/ 74 w 78"/>
                    <a:gd name="T95" fmla="*/ 20 h 76"/>
                    <a:gd name="T96" fmla="*/ 77 w 78"/>
                    <a:gd name="T97" fmla="*/ 11 h 76"/>
                    <a:gd name="T98" fmla="*/ 77 w 78"/>
                    <a:gd name="T99" fmla="*/ 8 h 76"/>
                    <a:gd name="T100" fmla="*/ 76 w 78"/>
                    <a:gd name="T101" fmla="*/ 3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78" h="76">
                      <a:moveTo>
                        <a:pt x="76" y="3"/>
                      </a:moveTo>
                      <a:cubicBezTo>
                        <a:pt x="76" y="3"/>
                        <a:pt x="75" y="8"/>
                        <a:pt x="74" y="9"/>
                      </a:cubicBezTo>
                      <a:cubicBezTo>
                        <a:pt x="73" y="10"/>
                        <a:pt x="70" y="9"/>
                        <a:pt x="68" y="8"/>
                      </a:cubicBezTo>
                      <a:cubicBezTo>
                        <a:pt x="67" y="7"/>
                        <a:pt x="63" y="8"/>
                        <a:pt x="61" y="8"/>
                      </a:cubicBezTo>
                      <a:cubicBezTo>
                        <a:pt x="59" y="8"/>
                        <a:pt x="58" y="8"/>
                        <a:pt x="56" y="6"/>
                      </a:cubicBezTo>
                      <a:cubicBezTo>
                        <a:pt x="55" y="4"/>
                        <a:pt x="53" y="4"/>
                        <a:pt x="51" y="5"/>
                      </a:cubicBezTo>
                      <a:cubicBezTo>
                        <a:pt x="49" y="5"/>
                        <a:pt x="47" y="2"/>
                        <a:pt x="46" y="2"/>
                      </a:cubicBezTo>
                      <a:cubicBezTo>
                        <a:pt x="44" y="2"/>
                        <a:pt x="40" y="3"/>
                        <a:pt x="39" y="3"/>
                      </a:cubicBezTo>
                      <a:cubicBezTo>
                        <a:pt x="38" y="3"/>
                        <a:pt x="37" y="4"/>
                        <a:pt x="35" y="2"/>
                      </a:cubicBezTo>
                      <a:cubicBezTo>
                        <a:pt x="33" y="0"/>
                        <a:pt x="33" y="4"/>
                        <a:pt x="33" y="5"/>
                      </a:cubicBezTo>
                      <a:cubicBezTo>
                        <a:pt x="32" y="7"/>
                        <a:pt x="30" y="6"/>
                        <a:pt x="27" y="6"/>
                      </a:cubicBezTo>
                      <a:cubicBezTo>
                        <a:pt x="25" y="5"/>
                        <a:pt x="20" y="6"/>
                        <a:pt x="18" y="6"/>
                      </a:cubicBezTo>
                      <a:cubicBezTo>
                        <a:pt x="17" y="7"/>
                        <a:pt x="15" y="7"/>
                        <a:pt x="13" y="9"/>
                      </a:cubicBezTo>
                      <a:cubicBezTo>
                        <a:pt x="12" y="11"/>
                        <a:pt x="9" y="11"/>
                        <a:pt x="10" y="12"/>
                      </a:cubicBezTo>
                      <a:cubicBezTo>
                        <a:pt x="11" y="13"/>
                        <a:pt x="11" y="14"/>
                        <a:pt x="9" y="14"/>
                      </a:cubicBezTo>
                      <a:cubicBezTo>
                        <a:pt x="8" y="14"/>
                        <a:pt x="7" y="14"/>
                        <a:pt x="6" y="15"/>
                      </a:cubicBezTo>
                      <a:cubicBezTo>
                        <a:pt x="4" y="16"/>
                        <a:pt x="3" y="15"/>
                        <a:pt x="2" y="16"/>
                      </a:cubicBezTo>
                      <a:cubicBezTo>
                        <a:pt x="0" y="17"/>
                        <a:pt x="0" y="20"/>
                        <a:pt x="2" y="21"/>
                      </a:cubicBezTo>
                      <a:cubicBezTo>
                        <a:pt x="3" y="21"/>
                        <a:pt x="6" y="22"/>
                        <a:pt x="4" y="24"/>
                      </a:cubicBezTo>
                      <a:cubicBezTo>
                        <a:pt x="2" y="26"/>
                        <a:pt x="1" y="29"/>
                        <a:pt x="2" y="30"/>
                      </a:cubicBezTo>
                      <a:cubicBezTo>
                        <a:pt x="3" y="31"/>
                        <a:pt x="5" y="33"/>
                        <a:pt x="7" y="32"/>
                      </a:cubicBezTo>
                      <a:cubicBezTo>
                        <a:pt x="8" y="31"/>
                        <a:pt x="9" y="31"/>
                        <a:pt x="8" y="33"/>
                      </a:cubicBezTo>
                      <a:cubicBezTo>
                        <a:pt x="7" y="34"/>
                        <a:pt x="4" y="34"/>
                        <a:pt x="4" y="35"/>
                      </a:cubicBezTo>
                      <a:cubicBezTo>
                        <a:pt x="3" y="37"/>
                        <a:pt x="2" y="38"/>
                        <a:pt x="4" y="39"/>
                      </a:cubicBezTo>
                      <a:cubicBezTo>
                        <a:pt x="6" y="39"/>
                        <a:pt x="6" y="40"/>
                        <a:pt x="7" y="42"/>
                      </a:cubicBezTo>
                      <a:cubicBezTo>
                        <a:pt x="7" y="45"/>
                        <a:pt x="8" y="47"/>
                        <a:pt x="10" y="48"/>
                      </a:cubicBezTo>
                      <a:cubicBezTo>
                        <a:pt x="13" y="49"/>
                        <a:pt x="14" y="52"/>
                        <a:pt x="16" y="50"/>
                      </a:cubicBezTo>
                      <a:cubicBezTo>
                        <a:pt x="17" y="47"/>
                        <a:pt x="18" y="44"/>
                        <a:pt x="20" y="45"/>
                      </a:cubicBezTo>
                      <a:cubicBezTo>
                        <a:pt x="22" y="46"/>
                        <a:pt x="22" y="46"/>
                        <a:pt x="21" y="48"/>
                      </a:cubicBezTo>
                      <a:cubicBezTo>
                        <a:pt x="20" y="51"/>
                        <a:pt x="21" y="57"/>
                        <a:pt x="20" y="59"/>
                      </a:cubicBezTo>
                      <a:cubicBezTo>
                        <a:pt x="20" y="60"/>
                        <a:pt x="18" y="64"/>
                        <a:pt x="19" y="63"/>
                      </a:cubicBezTo>
                      <a:cubicBezTo>
                        <a:pt x="21" y="62"/>
                        <a:pt x="24" y="60"/>
                        <a:pt x="26" y="59"/>
                      </a:cubicBezTo>
                      <a:cubicBezTo>
                        <a:pt x="29" y="58"/>
                        <a:pt x="31" y="54"/>
                        <a:pt x="32" y="56"/>
                      </a:cubicBezTo>
                      <a:cubicBezTo>
                        <a:pt x="33" y="58"/>
                        <a:pt x="35" y="60"/>
                        <a:pt x="36" y="58"/>
                      </a:cubicBezTo>
                      <a:cubicBezTo>
                        <a:pt x="37" y="55"/>
                        <a:pt x="37" y="58"/>
                        <a:pt x="39" y="59"/>
                      </a:cubicBezTo>
                      <a:cubicBezTo>
                        <a:pt x="41" y="61"/>
                        <a:pt x="42" y="62"/>
                        <a:pt x="45" y="64"/>
                      </a:cubicBezTo>
                      <a:cubicBezTo>
                        <a:pt x="48" y="65"/>
                        <a:pt x="50" y="69"/>
                        <a:pt x="53" y="71"/>
                      </a:cubicBezTo>
                      <a:cubicBezTo>
                        <a:pt x="55" y="73"/>
                        <a:pt x="58" y="76"/>
                        <a:pt x="59" y="74"/>
                      </a:cubicBezTo>
                      <a:cubicBezTo>
                        <a:pt x="61" y="71"/>
                        <a:pt x="62" y="70"/>
                        <a:pt x="65" y="72"/>
                      </a:cubicBezTo>
                      <a:cubicBezTo>
                        <a:pt x="68" y="74"/>
                        <a:pt x="72" y="74"/>
                        <a:pt x="72" y="74"/>
                      </a:cubicBezTo>
                      <a:cubicBezTo>
                        <a:pt x="72" y="73"/>
                        <a:pt x="71" y="70"/>
                        <a:pt x="72" y="68"/>
                      </a:cubicBezTo>
                      <a:cubicBezTo>
                        <a:pt x="74" y="66"/>
                        <a:pt x="78" y="63"/>
                        <a:pt x="77" y="61"/>
                      </a:cubicBezTo>
                      <a:cubicBezTo>
                        <a:pt x="76" y="60"/>
                        <a:pt x="74" y="58"/>
                        <a:pt x="74" y="57"/>
                      </a:cubicBezTo>
                      <a:cubicBezTo>
                        <a:pt x="74" y="55"/>
                        <a:pt x="72" y="55"/>
                        <a:pt x="72" y="53"/>
                      </a:cubicBezTo>
                      <a:cubicBezTo>
                        <a:pt x="71" y="52"/>
                        <a:pt x="70" y="49"/>
                        <a:pt x="71" y="46"/>
                      </a:cubicBezTo>
                      <a:cubicBezTo>
                        <a:pt x="71" y="43"/>
                        <a:pt x="70" y="39"/>
                        <a:pt x="70" y="37"/>
                      </a:cubicBezTo>
                      <a:cubicBezTo>
                        <a:pt x="69" y="35"/>
                        <a:pt x="67" y="30"/>
                        <a:pt x="69" y="27"/>
                      </a:cubicBezTo>
                      <a:cubicBezTo>
                        <a:pt x="70" y="25"/>
                        <a:pt x="73" y="23"/>
                        <a:pt x="74" y="20"/>
                      </a:cubicBezTo>
                      <a:cubicBezTo>
                        <a:pt x="74" y="16"/>
                        <a:pt x="76" y="12"/>
                        <a:pt x="77" y="11"/>
                      </a:cubicBezTo>
                      <a:cubicBezTo>
                        <a:pt x="78" y="11"/>
                        <a:pt x="78" y="9"/>
                        <a:pt x="77" y="8"/>
                      </a:cubicBezTo>
                      <a:cubicBezTo>
                        <a:pt x="76" y="6"/>
                        <a:pt x="77" y="5"/>
                        <a:pt x="76" y="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4" name="Freeform 10">
                  <a:extLst>
                    <a:ext uri="{FF2B5EF4-FFF2-40B4-BE49-F238E27FC236}">
                      <a16:creationId xmlns:a16="http://schemas.microsoft.com/office/drawing/2014/main" id="{8D311815-271F-CBEC-EC61-8CAC50E80D3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59264" y="3690938"/>
                  <a:ext cx="104775" cy="107950"/>
                </a:xfrm>
                <a:custGeom>
                  <a:avLst/>
                  <a:gdLst>
                    <a:gd name="T0" fmla="*/ 22 w 25"/>
                    <a:gd name="T1" fmla="*/ 6 h 26"/>
                    <a:gd name="T2" fmla="*/ 23 w 25"/>
                    <a:gd name="T3" fmla="*/ 1 h 26"/>
                    <a:gd name="T4" fmla="*/ 20 w 25"/>
                    <a:gd name="T5" fmla="*/ 3 h 26"/>
                    <a:gd name="T6" fmla="*/ 18 w 25"/>
                    <a:gd name="T7" fmla="*/ 4 h 26"/>
                    <a:gd name="T8" fmla="*/ 15 w 25"/>
                    <a:gd name="T9" fmla="*/ 4 h 26"/>
                    <a:gd name="T10" fmla="*/ 11 w 25"/>
                    <a:gd name="T11" fmla="*/ 4 h 26"/>
                    <a:gd name="T12" fmla="*/ 7 w 25"/>
                    <a:gd name="T13" fmla="*/ 6 h 26"/>
                    <a:gd name="T14" fmla="*/ 3 w 25"/>
                    <a:gd name="T15" fmla="*/ 8 h 26"/>
                    <a:gd name="T16" fmla="*/ 0 w 25"/>
                    <a:gd name="T17" fmla="*/ 9 h 26"/>
                    <a:gd name="T18" fmla="*/ 2 w 25"/>
                    <a:gd name="T19" fmla="*/ 15 h 26"/>
                    <a:gd name="T20" fmla="*/ 4 w 25"/>
                    <a:gd name="T21" fmla="*/ 20 h 26"/>
                    <a:gd name="T22" fmla="*/ 4 w 25"/>
                    <a:gd name="T23" fmla="*/ 25 h 26"/>
                    <a:gd name="T24" fmla="*/ 7 w 25"/>
                    <a:gd name="T25" fmla="*/ 21 h 26"/>
                    <a:gd name="T26" fmla="*/ 10 w 25"/>
                    <a:gd name="T27" fmla="*/ 16 h 26"/>
                    <a:gd name="T28" fmla="*/ 16 w 25"/>
                    <a:gd name="T29" fmla="*/ 16 h 26"/>
                    <a:gd name="T30" fmla="*/ 21 w 25"/>
                    <a:gd name="T31" fmla="*/ 10 h 26"/>
                    <a:gd name="T32" fmla="*/ 22 w 25"/>
                    <a:gd name="T33" fmla="*/ 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25" h="26">
                      <a:moveTo>
                        <a:pt x="22" y="6"/>
                      </a:moveTo>
                      <a:cubicBezTo>
                        <a:pt x="24" y="4"/>
                        <a:pt x="25" y="3"/>
                        <a:pt x="23" y="1"/>
                      </a:cubicBezTo>
                      <a:cubicBezTo>
                        <a:pt x="21" y="0"/>
                        <a:pt x="19" y="0"/>
                        <a:pt x="20" y="3"/>
                      </a:cubicBezTo>
                      <a:cubicBezTo>
                        <a:pt x="20" y="6"/>
                        <a:pt x="19" y="7"/>
                        <a:pt x="18" y="4"/>
                      </a:cubicBezTo>
                      <a:cubicBezTo>
                        <a:pt x="17" y="2"/>
                        <a:pt x="16" y="3"/>
                        <a:pt x="15" y="4"/>
                      </a:cubicBezTo>
                      <a:cubicBezTo>
                        <a:pt x="14" y="5"/>
                        <a:pt x="13" y="5"/>
                        <a:pt x="11" y="4"/>
                      </a:cubicBezTo>
                      <a:cubicBezTo>
                        <a:pt x="10" y="3"/>
                        <a:pt x="8" y="5"/>
                        <a:pt x="7" y="6"/>
                      </a:cubicBezTo>
                      <a:cubicBezTo>
                        <a:pt x="6" y="7"/>
                        <a:pt x="5" y="8"/>
                        <a:pt x="3" y="8"/>
                      </a:cubicBezTo>
                      <a:cubicBezTo>
                        <a:pt x="2" y="8"/>
                        <a:pt x="0" y="7"/>
                        <a:pt x="0" y="9"/>
                      </a:cubicBezTo>
                      <a:cubicBezTo>
                        <a:pt x="1" y="12"/>
                        <a:pt x="1" y="13"/>
                        <a:pt x="2" y="15"/>
                      </a:cubicBezTo>
                      <a:cubicBezTo>
                        <a:pt x="3" y="17"/>
                        <a:pt x="5" y="19"/>
                        <a:pt x="4" y="20"/>
                      </a:cubicBezTo>
                      <a:cubicBezTo>
                        <a:pt x="4" y="22"/>
                        <a:pt x="2" y="26"/>
                        <a:pt x="4" y="25"/>
                      </a:cubicBezTo>
                      <a:cubicBezTo>
                        <a:pt x="6" y="25"/>
                        <a:pt x="7" y="25"/>
                        <a:pt x="7" y="21"/>
                      </a:cubicBezTo>
                      <a:cubicBezTo>
                        <a:pt x="8" y="16"/>
                        <a:pt x="8" y="15"/>
                        <a:pt x="10" y="16"/>
                      </a:cubicBezTo>
                      <a:cubicBezTo>
                        <a:pt x="12" y="16"/>
                        <a:pt x="15" y="18"/>
                        <a:pt x="16" y="16"/>
                      </a:cubicBezTo>
                      <a:cubicBezTo>
                        <a:pt x="18" y="14"/>
                        <a:pt x="19" y="11"/>
                        <a:pt x="21" y="10"/>
                      </a:cubicBezTo>
                      <a:cubicBezTo>
                        <a:pt x="22" y="10"/>
                        <a:pt x="23" y="8"/>
                        <a:pt x="22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5" name="Freeform 11">
                  <a:extLst>
                    <a:ext uri="{FF2B5EF4-FFF2-40B4-BE49-F238E27FC236}">
                      <a16:creationId xmlns:a16="http://schemas.microsoft.com/office/drawing/2014/main" id="{17B47A61-0F83-FF69-E78C-E2443CE7281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67201" y="3636963"/>
                  <a:ext cx="63500" cy="53975"/>
                </a:xfrm>
                <a:custGeom>
                  <a:avLst/>
                  <a:gdLst>
                    <a:gd name="T0" fmla="*/ 13 w 15"/>
                    <a:gd name="T1" fmla="*/ 5 h 13"/>
                    <a:gd name="T2" fmla="*/ 10 w 15"/>
                    <a:gd name="T3" fmla="*/ 2 h 13"/>
                    <a:gd name="T4" fmla="*/ 7 w 15"/>
                    <a:gd name="T5" fmla="*/ 2 h 13"/>
                    <a:gd name="T6" fmla="*/ 2 w 15"/>
                    <a:gd name="T7" fmla="*/ 5 h 13"/>
                    <a:gd name="T8" fmla="*/ 3 w 15"/>
                    <a:gd name="T9" fmla="*/ 7 h 13"/>
                    <a:gd name="T10" fmla="*/ 7 w 15"/>
                    <a:gd name="T11" fmla="*/ 11 h 13"/>
                    <a:gd name="T12" fmla="*/ 9 w 15"/>
                    <a:gd name="T13" fmla="*/ 13 h 13"/>
                    <a:gd name="T14" fmla="*/ 14 w 15"/>
                    <a:gd name="T15" fmla="*/ 9 h 13"/>
                    <a:gd name="T16" fmla="*/ 13 w 15"/>
                    <a:gd name="T17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3">
                      <a:moveTo>
                        <a:pt x="13" y="5"/>
                      </a:moveTo>
                      <a:cubicBezTo>
                        <a:pt x="12" y="2"/>
                        <a:pt x="11" y="4"/>
                        <a:pt x="10" y="2"/>
                      </a:cubicBezTo>
                      <a:cubicBezTo>
                        <a:pt x="9" y="0"/>
                        <a:pt x="8" y="0"/>
                        <a:pt x="7" y="2"/>
                      </a:cubicBezTo>
                      <a:cubicBezTo>
                        <a:pt x="5" y="3"/>
                        <a:pt x="4" y="5"/>
                        <a:pt x="2" y="5"/>
                      </a:cubicBezTo>
                      <a:cubicBezTo>
                        <a:pt x="0" y="5"/>
                        <a:pt x="1" y="6"/>
                        <a:pt x="3" y="7"/>
                      </a:cubicBezTo>
                      <a:cubicBezTo>
                        <a:pt x="5" y="8"/>
                        <a:pt x="6" y="9"/>
                        <a:pt x="7" y="11"/>
                      </a:cubicBezTo>
                      <a:cubicBezTo>
                        <a:pt x="7" y="13"/>
                        <a:pt x="8" y="13"/>
                        <a:pt x="9" y="13"/>
                      </a:cubicBezTo>
                      <a:cubicBezTo>
                        <a:pt x="11" y="13"/>
                        <a:pt x="13" y="11"/>
                        <a:pt x="14" y="9"/>
                      </a:cubicBezTo>
                      <a:cubicBezTo>
                        <a:pt x="15" y="7"/>
                        <a:pt x="13" y="5"/>
                        <a:pt x="13" y="5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6" name="Freeform 12">
                  <a:extLst>
                    <a:ext uri="{FF2B5EF4-FFF2-40B4-BE49-F238E27FC236}">
                      <a16:creationId xmlns:a16="http://schemas.microsoft.com/office/drawing/2014/main" id="{78062A6A-A2C9-AD36-0D18-74CAD533C53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30701" y="3627438"/>
                  <a:ext cx="15875" cy="30163"/>
                </a:xfrm>
                <a:custGeom>
                  <a:avLst/>
                  <a:gdLst>
                    <a:gd name="T0" fmla="*/ 2 w 4"/>
                    <a:gd name="T1" fmla="*/ 1 h 7"/>
                    <a:gd name="T2" fmla="*/ 2 w 4"/>
                    <a:gd name="T3" fmla="*/ 6 h 7"/>
                    <a:gd name="T4" fmla="*/ 4 w 4"/>
                    <a:gd name="T5" fmla="*/ 3 h 7"/>
                    <a:gd name="T6" fmla="*/ 2 w 4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2" y="1"/>
                      </a:moveTo>
                      <a:cubicBezTo>
                        <a:pt x="1" y="1"/>
                        <a:pt x="0" y="4"/>
                        <a:pt x="2" y="6"/>
                      </a:cubicBezTo>
                      <a:cubicBezTo>
                        <a:pt x="4" y="7"/>
                        <a:pt x="4" y="5"/>
                        <a:pt x="4" y="3"/>
                      </a:cubicBezTo>
                      <a:cubicBezTo>
                        <a:pt x="4" y="1"/>
                        <a:pt x="4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92" name="Freeform 13">
                <a:extLst>
                  <a:ext uri="{FF2B5EF4-FFF2-40B4-BE49-F238E27FC236}">
                    <a16:creationId xmlns:a16="http://schemas.microsoft.com/office/drawing/2014/main" id="{04EC5091-E55B-B3CA-0ED2-97B3ABCE7F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3869" y="3734836"/>
                <a:ext cx="502172" cy="315783"/>
              </a:xfrm>
              <a:custGeom>
                <a:avLst/>
                <a:gdLst>
                  <a:gd name="T0" fmla="*/ 53 w 124"/>
                  <a:gd name="T1" fmla="*/ 9 h 78"/>
                  <a:gd name="T2" fmla="*/ 54 w 124"/>
                  <a:gd name="T3" fmla="*/ 15 h 78"/>
                  <a:gd name="T4" fmla="*/ 56 w 124"/>
                  <a:gd name="T5" fmla="*/ 23 h 78"/>
                  <a:gd name="T6" fmla="*/ 55 w 124"/>
                  <a:gd name="T7" fmla="*/ 29 h 78"/>
                  <a:gd name="T8" fmla="*/ 51 w 124"/>
                  <a:gd name="T9" fmla="*/ 36 h 78"/>
                  <a:gd name="T10" fmla="*/ 44 w 124"/>
                  <a:gd name="T11" fmla="*/ 38 h 78"/>
                  <a:gd name="T12" fmla="*/ 41 w 124"/>
                  <a:gd name="T13" fmla="*/ 36 h 78"/>
                  <a:gd name="T14" fmla="*/ 37 w 124"/>
                  <a:gd name="T15" fmla="*/ 32 h 78"/>
                  <a:gd name="T16" fmla="*/ 34 w 124"/>
                  <a:gd name="T17" fmla="*/ 25 h 78"/>
                  <a:gd name="T18" fmla="*/ 29 w 124"/>
                  <a:gd name="T19" fmla="*/ 21 h 78"/>
                  <a:gd name="T20" fmla="*/ 25 w 124"/>
                  <a:gd name="T21" fmla="*/ 14 h 78"/>
                  <a:gd name="T22" fmla="*/ 21 w 124"/>
                  <a:gd name="T23" fmla="*/ 14 h 78"/>
                  <a:gd name="T24" fmla="*/ 15 w 124"/>
                  <a:gd name="T25" fmla="*/ 17 h 78"/>
                  <a:gd name="T26" fmla="*/ 10 w 124"/>
                  <a:gd name="T27" fmla="*/ 19 h 78"/>
                  <a:gd name="T28" fmla="*/ 7 w 124"/>
                  <a:gd name="T29" fmla="*/ 26 h 78"/>
                  <a:gd name="T30" fmla="*/ 5 w 124"/>
                  <a:gd name="T31" fmla="*/ 32 h 78"/>
                  <a:gd name="T32" fmla="*/ 5 w 124"/>
                  <a:gd name="T33" fmla="*/ 37 h 78"/>
                  <a:gd name="T34" fmla="*/ 2 w 124"/>
                  <a:gd name="T35" fmla="*/ 42 h 78"/>
                  <a:gd name="T36" fmla="*/ 0 w 124"/>
                  <a:gd name="T37" fmla="*/ 46 h 78"/>
                  <a:gd name="T38" fmla="*/ 0 w 124"/>
                  <a:gd name="T39" fmla="*/ 53 h 78"/>
                  <a:gd name="T40" fmla="*/ 1 w 124"/>
                  <a:gd name="T41" fmla="*/ 60 h 78"/>
                  <a:gd name="T42" fmla="*/ 2 w 124"/>
                  <a:gd name="T43" fmla="*/ 65 h 78"/>
                  <a:gd name="T44" fmla="*/ 5 w 124"/>
                  <a:gd name="T45" fmla="*/ 65 h 78"/>
                  <a:gd name="T46" fmla="*/ 10 w 124"/>
                  <a:gd name="T47" fmla="*/ 59 h 78"/>
                  <a:gd name="T48" fmla="*/ 19 w 124"/>
                  <a:gd name="T49" fmla="*/ 56 h 78"/>
                  <a:gd name="T50" fmla="*/ 27 w 124"/>
                  <a:gd name="T51" fmla="*/ 56 h 78"/>
                  <a:gd name="T52" fmla="*/ 35 w 124"/>
                  <a:gd name="T53" fmla="*/ 57 h 78"/>
                  <a:gd name="T54" fmla="*/ 39 w 124"/>
                  <a:gd name="T55" fmla="*/ 59 h 78"/>
                  <a:gd name="T56" fmla="*/ 44 w 124"/>
                  <a:gd name="T57" fmla="*/ 58 h 78"/>
                  <a:gd name="T58" fmla="*/ 52 w 124"/>
                  <a:gd name="T59" fmla="*/ 59 h 78"/>
                  <a:gd name="T60" fmla="*/ 61 w 124"/>
                  <a:gd name="T61" fmla="*/ 60 h 78"/>
                  <a:gd name="T62" fmla="*/ 66 w 124"/>
                  <a:gd name="T63" fmla="*/ 56 h 78"/>
                  <a:gd name="T64" fmla="*/ 69 w 124"/>
                  <a:gd name="T65" fmla="*/ 60 h 78"/>
                  <a:gd name="T66" fmla="*/ 74 w 124"/>
                  <a:gd name="T67" fmla="*/ 63 h 78"/>
                  <a:gd name="T68" fmla="*/ 81 w 124"/>
                  <a:gd name="T69" fmla="*/ 65 h 78"/>
                  <a:gd name="T70" fmla="*/ 88 w 124"/>
                  <a:gd name="T71" fmla="*/ 71 h 78"/>
                  <a:gd name="T72" fmla="*/ 94 w 124"/>
                  <a:gd name="T73" fmla="*/ 77 h 78"/>
                  <a:gd name="T74" fmla="*/ 99 w 124"/>
                  <a:gd name="T75" fmla="*/ 78 h 78"/>
                  <a:gd name="T76" fmla="*/ 105 w 124"/>
                  <a:gd name="T77" fmla="*/ 73 h 78"/>
                  <a:gd name="T78" fmla="*/ 111 w 124"/>
                  <a:gd name="T79" fmla="*/ 75 h 78"/>
                  <a:gd name="T80" fmla="*/ 115 w 124"/>
                  <a:gd name="T81" fmla="*/ 72 h 78"/>
                  <a:gd name="T82" fmla="*/ 120 w 124"/>
                  <a:gd name="T83" fmla="*/ 66 h 78"/>
                  <a:gd name="T84" fmla="*/ 124 w 124"/>
                  <a:gd name="T85" fmla="*/ 66 h 78"/>
                  <a:gd name="T86" fmla="*/ 124 w 124"/>
                  <a:gd name="T87" fmla="*/ 66 h 78"/>
                  <a:gd name="T88" fmla="*/ 124 w 124"/>
                  <a:gd name="T89" fmla="*/ 65 h 78"/>
                  <a:gd name="T90" fmla="*/ 123 w 124"/>
                  <a:gd name="T91" fmla="*/ 59 h 78"/>
                  <a:gd name="T92" fmla="*/ 120 w 124"/>
                  <a:gd name="T93" fmla="*/ 50 h 78"/>
                  <a:gd name="T94" fmla="*/ 116 w 124"/>
                  <a:gd name="T95" fmla="*/ 43 h 78"/>
                  <a:gd name="T96" fmla="*/ 114 w 124"/>
                  <a:gd name="T97" fmla="*/ 40 h 78"/>
                  <a:gd name="T98" fmla="*/ 114 w 124"/>
                  <a:gd name="T99" fmla="*/ 29 h 78"/>
                  <a:gd name="T100" fmla="*/ 112 w 124"/>
                  <a:gd name="T101" fmla="*/ 26 h 78"/>
                  <a:gd name="T102" fmla="*/ 106 w 124"/>
                  <a:gd name="T103" fmla="*/ 20 h 78"/>
                  <a:gd name="T104" fmla="*/ 99 w 124"/>
                  <a:gd name="T105" fmla="*/ 18 h 78"/>
                  <a:gd name="T106" fmla="*/ 93 w 124"/>
                  <a:gd name="T107" fmla="*/ 20 h 78"/>
                  <a:gd name="T108" fmla="*/ 87 w 124"/>
                  <a:gd name="T109" fmla="*/ 17 h 78"/>
                  <a:gd name="T110" fmla="*/ 79 w 124"/>
                  <a:gd name="T111" fmla="*/ 10 h 78"/>
                  <a:gd name="T112" fmla="*/ 73 w 124"/>
                  <a:gd name="T113" fmla="*/ 5 h 78"/>
                  <a:gd name="T114" fmla="*/ 70 w 124"/>
                  <a:gd name="T115" fmla="*/ 4 h 78"/>
                  <a:gd name="T116" fmla="*/ 66 w 124"/>
                  <a:gd name="T117" fmla="*/ 2 h 78"/>
                  <a:gd name="T118" fmla="*/ 60 w 124"/>
                  <a:gd name="T119" fmla="*/ 5 h 78"/>
                  <a:gd name="T120" fmla="*/ 53 w 124"/>
                  <a:gd name="T121" fmla="*/ 9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4" h="78">
                    <a:moveTo>
                      <a:pt x="53" y="9"/>
                    </a:moveTo>
                    <a:cubicBezTo>
                      <a:pt x="53" y="9"/>
                      <a:pt x="53" y="12"/>
                      <a:pt x="54" y="15"/>
                    </a:cubicBezTo>
                    <a:cubicBezTo>
                      <a:pt x="55" y="18"/>
                      <a:pt x="55" y="21"/>
                      <a:pt x="56" y="23"/>
                    </a:cubicBezTo>
                    <a:cubicBezTo>
                      <a:pt x="56" y="26"/>
                      <a:pt x="56" y="28"/>
                      <a:pt x="55" y="29"/>
                    </a:cubicBezTo>
                    <a:cubicBezTo>
                      <a:pt x="54" y="30"/>
                      <a:pt x="53" y="34"/>
                      <a:pt x="51" y="36"/>
                    </a:cubicBezTo>
                    <a:cubicBezTo>
                      <a:pt x="49" y="37"/>
                      <a:pt x="46" y="38"/>
                      <a:pt x="44" y="38"/>
                    </a:cubicBezTo>
                    <a:cubicBezTo>
                      <a:pt x="42" y="38"/>
                      <a:pt x="42" y="37"/>
                      <a:pt x="41" y="36"/>
                    </a:cubicBezTo>
                    <a:cubicBezTo>
                      <a:pt x="39" y="34"/>
                      <a:pt x="37" y="35"/>
                      <a:pt x="37" y="32"/>
                    </a:cubicBezTo>
                    <a:cubicBezTo>
                      <a:pt x="36" y="30"/>
                      <a:pt x="35" y="27"/>
                      <a:pt x="34" y="25"/>
                    </a:cubicBezTo>
                    <a:cubicBezTo>
                      <a:pt x="33" y="23"/>
                      <a:pt x="30" y="23"/>
                      <a:pt x="29" y="21"/>
                    </a:cubicBezTo>
                    <a:cubicBezTo>
                      <a:pt x="27" y="18"/>
                      <a:pt x="26" y="17"/>
                      <a:pt x="25" y="14"/>
                    </a:cubicBezTo>
                    <a:cubicBezTo>
                      <a:pt x="23" y="11"/>
                      <a:pt x="24" y="13"/>
                      <a:pt x="21" y="14"/>
                    </a:cubicBezTo>
                    <a:cubicBezTo>
                      <a:pt x="19" y="16"/>
                      <a:pt x="16" y="16"/>
                      <a:pt x="15" y="17"/>
                    </a:cubicBezTo>
                    <a:cubicBezTo>
                      <a:pt x="14" y="18"/>
                      <a:pt x="12" y="17"/>
                      <a:pt x="10" y="19"/>
                    </a:cubicBezTo>
                    <a:cubicBezTo>
                      <a:pt x="8" y="20"/>
                      <a:pt x="9" y="23"/>
                      <a:pt x="7" y="26"/>
                    </a:cubicBezTo>
                    <a:cubicBezTo>
                      <a:pt x="6" y="28"/>
                      <a:pt x="5" y="29"/>
                      <a:pt x="5" y="32"/>
                    </a:cubicBezTo>
                    <a:cubicBezTo>
                      <a:pt x="6" y="35"/>
                      <a:pt x="7" y="34"/>
                      <a:pt x="5" y="37"/>
                    </a:cubicBezTo>
                    <a:cubicBezTo>
                      <a:pt x="3" y="39"/>
                      <a:pt x="3" y="40"/>
                      <a:pt x="2" y="42"/>
                    </a:cubicBezTo>
                    <a:cubicBezTo>
                      <a:pt x="0" y="43"/>
                      <a:pt x="0" y="44"/>
                      <a:pt x="0" y="46"/>
                    </a:cubicBezTo>
                    <a:cubicBezTo>
                      <a:pt x="1" y="48"/>
                      <a:pt x="1" y="51"/>
                      <a:pt x="0" y="53"/>
                    </a:cubicBezTo>
                    <a:cubicBezTo>
                      <a:pt x="0" y="55"/>
                      <a:pt x="0" y="58"/>
                      <a:pt x="1" y="60"/>
                    </a:cubicBezTo>
                    <a:cubicBezTo>
                      <a:pt x="1" y="62"/>
                      <a:pt x="2" y="63"/>
                      <a:pt x="2" y="65"/>
                    </a:cubicBezTo>
                    <a:cubicBezTo>
                      <a:pt x="2" y="67"/>
                      <a:pt x="4" y="66"/>
                      <a:pt x="5" y="65"/>
                    </a:cubicBezTo>
                    <a:cubicBezTo>
                      <a:pt x="5" y="64"/>
                      <a:pt x="7" y="60"/>
                      <a:pt x="10" y="59"/>
                    </a:cubicBezTo>
                    <a:cubicBezTo>
                      <a:pt x="13" y="58"/>
                      <a:pt x="16" y="57"/>
                      <a:pt x="19" y="56"/>
                    </a:cubicBezTo>
                    <a:cubicBezTo>
                      <a:pt x="21" y="54"/>
                      <a:pt x="24" y="55"/>
                      <a:pt x="27" y="56"/>
                    </a:cubicBezTo>
                    <a:cubicBezTo>
                      <a:pt x="30" y="56"/>
                      <a:pt x="34" y="55"/>
                      <a:pt x="35" y="57"/>
                    </a:cubicBezTo>
                    <a:cubicBezTo>
                      <a:pt x="36" y="59"/>
                      <a:pt x="37" y="60"/>
                      <a:pt x="39" y="59"/>
                    </a:cubicBezTo>
                    <a:cubicBezTo>
                      <a:pt x="41" y="57"/>
                      <a:pt x="42" y="57"/>
                      <a:pt x="44" y="58"/>
                    </a:cubicBezTo>
                    <a:cubicBezTo>
                      <a:pt x="46" y="60"/>
                      <a:pt x="50" y="58"/>
                      <a:pt x="52" y="59"/>
                    </a:cubicBezTo>
                    <a:cubicBezTo>
                      <a:pt x="55" y="60"/>
                      <a:pt x="60" y="61"/>
                      <a:pt x="61" y="60"/>
                    </a:cubicBezTo>
                    <a:cubicBezTo>
                      <a:pt x="62" y="59"/>
                      <a:pt x="64" y="55"/>
                      <a:pt x="66" y="56"/>
                    </a:cubicBezTo>
                    <a:cubicBezTo>
                      <a:pt x="67" y="56"/>
                      <a:pt x="69" y="58"/>
                      <a:pt x="69" y="60"/>
                    </a:cubicBezTo>
                    <a:cubicBezTo>
                      <a:pt x="70" y="63"/>
                      <a:pt x="71" y="62"/>
                      <a:pt x="74" y="63"/>
                    </a:cubicBezTo>
                    <a:cubicBezTo>
                      <a:pt x="76" y="63"/>
                      <a:pt x="80" y="63"/>
                      <a:pt x="81" y="65"/>
                    </a:cubicBezTo>
                    <a:cubicBezTo>
                      <a:pt x="82" y="67"/>
                      <a:pt x="86" y="68"/>
                      <a:pt x="88" y="71"/>
                    </a:cubicBezTo>
                    <a:cubicBezTo>
                      <a:pt x="89" y="73"/>
                      <a:pt x="92" y="75"/>
                      <a:pt x="94" y="77"/>
                    </a:cubicBezTo>
                    <a:cubicBezTo>
                      <a:pt x="96" y="78"/>
                      <a:pt x="99" y="78"/>
                      <a:pt x="99" y="78"/>
                    </a:cubicBezTo>
                    <a:cubicBezTo>
                      <a:pt x="99" y="78"/>
                      <a:pt x="103" y="73"/>
                      <a:pt x="105" y="73"/>
                    </a:cubicBezTo>
                    <a:cubicBezTo>
                      <a:pt x="107" y="72"/>
                      <a:pt x="110" y="75"/>
                      <a:pt x="111" y="75"/>
                    </a:cubicBezTo>
                    <a:cubicBezTo>
                      <a:pt x="113" y="76"/>
                      <a:pt x="114" y="76"/>
                      <a:pt x="115" y="72"/>
                    </a:cubicBezTo>
                    <a:cubicBezTo>
                      <a:pt x="116" y="68"/>
                      <a:pt x="117" y="65"/>
                      <a:pt x="120" y="66"/>
                    </a:cubicBezTo>
                    <a:cubicBezTo>
                      <a:pt x="123" y="66"/>
                      <a:pt x="124" y="66"/>
                      <a:pt x="124" y="66"/>
                    </a:cubicBezTo>
                    <a:cubicBezTo>
                      <a:pt x="124" y="66"/>
                      <a:pt x="124" y="66"/>
                      <a:pt x="124" y="66"/>
                    </a:cubicBezTo>
                    <a:cubicBezTo>
                      <a:pt x="124" y="66"/>
                      <a:pt x="124" y="65"/>
                      <a:pt x="124" y="65"/>
                    </a:cubicBezTo>
                    <a:cubicBezTo>
                      <a:pt x="123" y="64"/>
                      <a:pt x="123" y="63"/>
                      <a:pt x="123" y="59"/>
                    </a:cubicBezTo>
                    <a:cubicBezTo>
                      <a:pt x="122" y="56"/>
                      <a:pt x="121" y="52"/>
                      <a:pt x="120" y="50"/>
                    </a:cubicBezTo>
                    <a:cubicBezTo>
                      <a:pt x="118" y="47"/>
                      <a:pt x="117" y="45"/>
                      <a:pt x="116" y="43"/>
                    </a:cubicBezTo>
                    <a:cubicBezTo>
                      <a:pt x="116" y="41"/>
                      <a:pt x="115" y="43"/>
                      <a:pt x="114" y="40"/>
                    </a:cubicBezTo>
                    <a:cubicBezTo>
                      <a:pt x="113" y="38"/>
                      <a:pt x="114" y="32"/>
                      <a:pt x="114" y="29"/>
                    </a:cubicBezTo>
                    <a:cubicBezTo>
                      <a:pt x="114" y="27"/>
                      <a:pt x="114" y="27"/>
                      <a:pt x="112" y="26"/>
                    </a:cubicBezTo>
                    <a:cubicBezTo>
                      <a:pt x="110" y="25"/>
                      <a:pt x="107" y="20"/>
                      <a:pt x="106" y="20"/>
                    </a:cubicBezTo>
                    <a:cubicBezTo>
                      <a:pt x="105" y="19"/>
                      <a:pt x="102" y="20"/>
                      <a:pt x="99" y="18"/>
                    </a:cubicBezTo>
                    <a:cubicBezTo>
                      <a:pt x="96" y="16"/>
                      <a:pt x="95" y="17"/>
                      <a:pt x="93" y="20"/>
                    </a:cubicBezTo>
                    <a:cubicBezTo>
                      <a:pt x="91" y="22"/>
                      <a:pt x="89" y="19"/>
                      <a:pt x="87" y="17"/>
                    </a:cubicBezTo>
                    <a:cubicBezTo>
                      <a:pt x="84" y="15"/>
                      <a:pt x="82" y="11"/>
                      <a:pt x="79" y="10"/>
                    </a:cubicBezTo>
                    <a:cubicBezTo>
                      <a:pt x="76" y="8"/>
                      <a:pt x="75" y="7"/>
                      <a:pt x="73" y="5"/>
                    </a:cubicBezTo>
                    <a:cubicBezTo>
                      <a:pt x="71" y="4"/>
                      <a:pt x="71" y="1"/>
                      <a:pt x="70" y="4"/>
                    </a:cubicBezTo>
                    <a:cubicBezTo>
                      <a:pt x="69" y="6"/>
                      <a:pt x="67" y="4"/>
                      <a:pt x="66" y="2"/>
                    </a:cubicBezTo>
                    <a:cubicBezTo>
                      <a:pt x="65" y="0"/>
                      <a:pt x="63" y="4"/>
                      <a:pt x="60" y="5"/>
                    </a:cubicBezTo>
                    <a:cubicBezTo>
                      <a:pt x="57" y="6"/>
                      <a:pt x="55" y="8"/>
                      <a:pt x="53" y="9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493" name="Freeform 14">
                <a:extLst>
                  <a:ext uri="{FF2B5EF4-FFF2-40B4-BE49-F238E27FC236}">
                    <a16:creationId xmlns:a16="http://schemas.microsoft.com/office/drawing/2014/main" id="{5CF0DBEC-F981-D428-E9C0-3954CAD64B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1571" y="3953573"/>
                <a:ext cx="400505" cy="303460"/>
              </a:xfrm>
              <a:custGeom>
                <a:avLst/>
                <a:gdLst>
                  <a:gd name="T0" fmla="*/ 0 w 99"/>
                  <a:gd name="T1" fmla="*/ 12 h 75"/>
                  <a:gd name="T2" fmla="*/ 1 w 99"/>
                  <a:gd name="T3" fmla="*/ 16 h 75"/>
                  <a:gd name="T4" fmla="*/ 1 w 99"/>
                  <a:gd name="T5" fmla="*/ 21 h 75"/>
                  <a:gd name="T6" fmla="*/ 4 w 99"/>
                  <a:gd name="T7" fmla="*/ 28 h 75"/>
                  <a:gd name="T8" fmla="*/ 5 w 99"/>
                  <a:gd name="T9" fmla="*/ 34 h 75"/>
                  <a:gd name="T10" fmla="*/ 5 w 99"/>
                  <a:gd name="T11" fmla="*/ 38 h 75"/>
                  <a:gd name="T12" fmla="*/ 10 w 99"/>
                  <a:gd name="T13" fmla="*/ 38 h 75"/>
                  <a:gd name="T14" fmla="*/ 16 w 99"/>
                  <a:gd name="T15" fmla="*/ 42 h 75"/>
                  <a:gd name="T16" fmla="*/ 23 w 99"/>
                  <a:gd name="T17" fmla="*/ 42 h 75"/>
                  <a:gd name="T18" fmla="*/ 30 w 99"/>
                  <a:gd name="T19" fmla="*/ 43 h 75"/>
                  <a:gd name="T20" fmla="*/ 32 w 99"/>
                  <a:gd name="T21" fmla="*/ 48 h 75"/>
                  <a:gd name="T22" fmla="*/ 31 w 99"/>
                  <a:gd name="T23" fmla="*/ 55 h 75"/>
                  <a:gd name="T24" fmla="*/ 31 w 99"/>
                  <a:gd name="T25" fmla="*/ 60 h 75"/>
                  <a:gd name="T26" fmla="*/ 36 w 99"/>
                  <a:gd name="T27" fmla="*/ 60 h 75"/>
                  <a:gd name="T28" fmla="*/ 41 w 99"/>
                  <a:gd name="T29" fmla="*/ 64 h 75"/>
                  <a:gd name="T30" fmla="*/ 46 w 99"/>
                  <a:gd name="T31" fmla="*/ 68 h 75"/>
                  <a:gd name="T32" fmla="*/ 47 w 99"/>
                  <a:gd name="T33" fmla="*/ 73 h 75"/>
                  <a:gd name="T34" fmla="*/ 54 w 99"/>
                  <a:gd name="T35" fmla="*/ 72 h 75"/>
                  <a:gd name="T36" fmla="*/ 59 w 99"/>
                  <a:gd name="T37" fmla="*/ 72 h 75"/>
                  <a:gd name="T38" fmla="*/ 64 w 99"/>
                  <a:gd name="T39" fmla="*/ 72 h 75"/>
                  <a:gd name="T40" fmla="*/ 68 w 99"/>
                  <a:gd name="T41" fmla="*/ 70 h 75"/>
                  <a:gd name="T42" fmla="*/ 70 w 99"/>
                  <a:gd name="T43" fmla="*/ 67 h 75"/>
                  <a:gd name="T44" fmla="*/ 74 w 99"/>
                  <a:gd name="T45" fmla="*/ 66 h 75"/>
                  <a:gd name="T46" fmla="*/ 77 w 99"/>
                  <a:gd name="T47" fmla="*/ 64 h 75"/>
                  <a:gd name="T48" fmla="*/ 80 w 99"/>
                  <a:gd name="T49" fmla="*/ 63 h 75"/>
                  <a:gd name="T50" fmla="*/ 82 w 99"/>
                  <a:gd name="T51" fmla="*/ 67 h 75"/>
                  <a:gd name="T52" fmla="*/ 85 w 99"/>
                  <a:gd name="T53" fmla="*/ 63 h 75"/>
                  <a:gd name="T54" fmla="*/ 82 w 99"/>
                  <a:gd name="T55" fmla="*/ 58 h 75"/>
                  <a:gd name="T56" fmla="*/ 83 w 99"/>
                  <a:gd name="T57" fmla="*/ 50 h 75"/>
                  <a:gd name="T58" fmla="*/ 86 w 99"/>
                  <a:gd name="T59" fmla="*/ 45 h 75"/>
                  <a:gd name="T60" fmla="*/ 91 w 99"/>
                  <a:gd name="T61" fmla="*/ 40 h 75"/>
                  <a:gd name="T62" fmla="*/ 96 w 99"/>
                  <a:gd name="T63" fmla="*/ 39 h 75"/>
                  <a:gd name="T64" fmla="*/ 98 w 99"/>
                  <a:gd name="T65" fmla="*/ 36 h 75"/>
                  <a:gd name="T66" fmla="*/ 96 w 99"/>
                  <a:gd name="T67" fmla="*/ 34 h 75"/>
                  <a:gd name="T68" fmla="*/ 94 w 99"/>
                  <a:gd name="T69" fmla="*/ 31 h 75"/>
                  <a:gd name="T70" fmla="*/ 97 w 99"/>
                  <a:gd name="T71" fmla="*/ 24 h 75"/>
                  <a:gd name="T72" fmla="*/ 92 w 99"/>
                  <a:gd name="T73" fmla="*/ 23 h 75"/>
                  <a:gd name="T74" fmla="*/ 86 w 99"/>
                  <a:gd name="T75" fmla="*/ 17 h 75"/>
                  <a:gd name="T76" fmla="*/ 79 w 99"/>
                  <a:gd name="T77" fmla="*/ 11 h 75"/>
                  <a:gd name="T78" fmla="*/ 72 w 99"/>
                  <a:gd name="T79" fmla="*/ 9 h 75"/>
                  <a:gd name="T80" fmla="*/ 67 w 99"/>
                  <a:gd name="T81" fmla="*/ 6 h 75"/>
                  <a:gd name="T82" fmla="*/ 64 w 99"/>
                  <a:gd name="T83" fmla="*/ 2 h 75"/>
                  <a:gd name="T84" fmla="*/ 59 w 99"/>
                  <a:gd name="T85" fmla="*/ 6 h 75"/>
                  <a:gd name="T86" fmla="*/ 50 w 99"/>
                  <a:gd name="T87" fmla="*/ 5 h 75"/>
                  <a:gd name="T88" fmla="*/ 42 w 99"/>
                  <a:gd name="T89" fmla="*/ 4 h 75"/>
                  <a:gd name="T90" fmla="*/ 37 w 99"/>
                  <a:gd name="T91" fmla="*/ 5 h 75"/>
                  <a:gd name="T92" fmla="*/ 33 w 99"/>
                  <a:gd name="T93" fmla="*/ 3 h 75"/>
                  <a:gd name="T94" fmla="*/ 25 w 99"/>
                  <a:gd name="T95" fmla="*/ 2 h 75"/>
                  <a:gd name="T96" fmla="*/ 17 w 99"/>
                  <a:gd name="T97" fmla="*/ 2 h 75"/>
                  <a:gd name="T98" fmla="*/ 8 w 99"/>
                  <a:gd name="T99" fmla="*/ 5 h 75"/>
                  <a:gd name="T100" fmla="*/ 3 w 99"/>
                  <a:gd name="T101" fmla="*/ 11 h 75"/>
                  <a:gd name="T102" fmla="*/ 0 w 99"/>
                  <a:gd name="T103" fmla="*/ 12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99" h="75">
                    <a:moveTo>
                      <a:pt x="0" y="12"/>
                    </a:moveTo>
                    <a:cubicBezTo>
                      <a:pt x="0" y="12"/>
                      <a:pt x="0" y="14"/>
                      <a:pt x="1" y="16"/>
                    </a:cubicBezTo>
                    <a:cubicBezTo>
                      <a:pt x="1" y="18"/>
                      <a:pt x="0" y="19"/>
                      <a:pt x="1" y="21"/>
                    </a:cubicBezTo>
                    <a:cubicBezTo>
                      <a:pt x="2" y="24"/>
                      <a:pt x="3" y="26"/>
                      <a:pt x="4" y="28"/>
                    </a:cubicBezTo>
                    <a:cubicBezTo>
                      <a:pt x="4" y="29"/>
                      <a:pt x="5" y="32"/>
                      <a:pt x="5" y="34"/>
                    </a:cubicBezTo>
                    <a:cubicBezTo>
                      <a:pt x="5" y="35"/>
                      <a:pt x="5" y="38"/>
                      <a:pt x="5" y="38"/>
                    </a:cubicBezTo>
                    <a:cubicBezTo>
                      <a:pt x="5" y="38"/>
                      <a:pt x="8" y="37"/>
                      <a:pt x="10" y="38"/>
                    </a:cubicBezTo>
                    <a:cubicBezTo>
                      <a:pt x="13" y="38"/>
                      <a:pt x="13" y="40"/>
                      <a:pt x="16" y="42"/>
                    </a:cubicBezTo>
                    <a:cubicBezTo>
                      <a:pt x="19" y="43"/>
                      <a:pt x="20" y="42"/>
                      <a:pt x="23" y="42"/>
                    </a:cubicBezTo>
                    <a:cubicBezTo>
                      <a:pt x="25" y="41"/>
                      <a:pt x="27" y="41"/>
                      <a:pt x="30" y="43"/>
                    </a:cubicBezTo>
                    <a:cubicBezTo>
                      <a:pt x="32" y="45"/>
                      <a:pt x="33" y="47"/>
                      <a:pt x="32" y="48"/>
                    </a:cubicBezTo>
                    <a:cubicBezTo>
                      <a:pt x="32" y="49"/>
                      <a:pt x="31" y="53"/>
                      <a:pt x="31" y="55"/>
                    </a:cubicBezTo>
                    <a:cubicBezTo>
                      <a:pt x="31" y="57"/>
                      <a:pt x="31" y="60"/>
                      <a:pt x="31" y="60"/>
                    </a:cubicBezTo>
                    <a:cubicBezTo>
                      <a:pt x="31" y="60"/>
                      <a:pt x="35" y="60"/>
                      <a:pt x="36" y="60"/>
                    </a:cubicBezTo>
                    <a:cubicBezTo>
                      <a:pt x="38" y="61"/>
                      <a:pt x="39" y="63"/>
                      <a:pt x="41" y="64"/>
                    </a:cubicBezTo>
                    <a:cubicBezTo>
                      <a:pt x="44" y="66"/>
                      <a:pt x="46" y="66"/>
                      <a:pt x="46" y="68"/>
                    </a:cubicBezTo>
                    <a:cubicBezTo>
                      <a:pt x="46" y="69"/>
                      <a:pt x="47" y="73"/>
                      <a:pt x="47" y="73"/>
                    </a:cubicBezTo>
                    <a:cubicBezTo>
                      <a:pt x="47" y="73"/>
                      <a:pt x="52" y="72"/>
                      <a:pt x="54" y="72"/>
                    </a:cubicBezTo>
                    <a:cubicBezTo>
                      <a:pt x="56" y="72"/>
                      <a:pt x="59" y="71"/>
                      <a:pt x="59" y="72"/>
                    </a:cubicBezTo>
                    <a:cubicBezTo>
                      <a:pt x="60" y="74"/>
                      <a:pt x="62" y="75"/>
                      <a:pt x="64" y="72"/>
                    </a:cubicBezTo>
                    <a:cubicBezTo>
                      <a:pt x="65" y="70"/>
                      <a:pt x="67" y="72"/>
                      <a:pt x="68" y="70"/>
                    </a:cubicBezTo>
                    <a:cubicBezTo>
                      <a:pt x="69" y="68"/>
                      <a:pt x="68" y="67"/>
                      <a:pt x="70" y="67"/>
                    </a:cubicBezTo>
                    <a:cubicBezTo>
                      <a:pt x="72" y="67"/>
                      <a:pt x="74" y="67"/>
                      <a:pt x="74" y="66"/>
                    </a:cubicBezTo>
                    <a:cubicBezTo>
                      <a:pt x="75" y="64"/>
                      <a:pt x="76" y="64"/>
                      <a:pt x="77" y="64"/>
                    </a:cubicBezTo>
                    <a:cubicBezTo>
                      <a:pt x="78" y="64"/>
                      <a:pt x="80" y="62"/>
                      <a:pt x="80" y="63"/>
                    </a:cubicBezTo>
                    <a:cubicBezTo>
                      <a:pt x="80" y="65"/>
                      <a:pt x="80" y="67"/>
                      <a:pt x="82" y="67"/>
                    </a:cubicBezTo>
                    <a:cubicBezTo>
                      <a:pt x="85" y="67"/>
                      <a:pt x="86" y="64"/>
                      <a:pt x="85" y="63"/>
                    </a:cubicBezTo>
                    <a:cubicBezTo>
                      <a:pt x="83" y="62"/>
                      <a:pt x="80" y="61"/>
                      <a:pt x="82" y="58"/>
                    </a:cubicBezTo>
                    <a:cubicBezTo>
                      <a:pt x="84" y="54"/>
                      <a:pt x="83" y="54"/>
                      <a:pt x="83" y="50"/>
                    </a:cubicBezTo>
                    <a:cubicBezTo>
                      <a:pt x="82" y="45"/>
                      <a:pt x="83" y="44"/>
                      <a:pt x="86" y="45"/>
                    </a:cubicBezTo>
                    <a:cubicBezTo>
                      <a:pt x="90" y="46"/>
                      <a:pt x="89" y="42"/>
                      <a:pt x="91" y="40"/>
                    </a:cubicBezTo>
                    <a:cubicBezTo>
                      <a:pt x="92" y="38"/>
                      <a:pt x="94" y="39"/>
                      <a:pt x="96" y="39"/>
                    </a:cubicBezTo>
                    <a:cubicBezTo>
                      <a:pt x="98" y="40"/>
                      <a:pt x="96" y="38"/>
                      <a:pt x="98" y="36"/>
                    </a:cubicBezTo>
                    <a:cubicBezTo>
                      <a:pt x="99" y="35"/>
                      <a:pt x="99" y="34"/>
                      <a:pt x="96" y="34"/>
                    </a:cubicBezTo>
                    <a:cubicBezTo>
                      <a:pt x="94" y="34"/>
                      <a:pt x="93" y="33"/>
                      <a:pt x="94" y="31"/>
                    </a:cubicBezTo>
                    <a:cubicBezTo>
                      <a:pt x="95" y="28"/>
                      <a:pt x="97" y="24"/>
                      <a:pt x="97" y="24"/>
                    </a:cubicBezTo>
                    <a:cubicBezTo>
                      <a:pt x="97" y="24"/>
                      <a:pt x="94" y="24"/>
                      <a:pt x="92" y="23"/>
                    </a:cubicBezTo>
                    <a:cubicBezTo>
                      <a:pt x="90" y="21"/>
                      <a:pt x="87" y="19"/>
                      <a:pt x="86" y="17"/>
                    </a:cubicBezTo>
                    <a:cubicBezTo>
                      <a:pt x="84" y="14"/>
                      <a:pt x="80" y="13"/>
                      <a:pt x="79" y="11"/>
                    </a:cubicBezTo>
                    <a:cubicBezTo>
                      <a:pt x="78" y="9"/>
                      <a:pt x="74" y="9"/>
                      <a:pt x="72" y="9"/>
                    </a:cubicBezTo>
                    <a:cubicBezTo>
                      <a:pt x="69" y="8"/>
                      <a:pt x="68" y="9"/>
                      <a:pt x="67" y="6"/>
                    </a:cubicBezTo>
                    <a:cubicBezTo>
                      <a:pt x="67" y="4"/>
                      <a:pt x="65" y="2"/>
                      <a:pt x="64" y="2"/>
                    </a:cubicBezTo>
                    <a:cubicBezTo>
                      <a:pt x="62" y="1"/>
                      <a:pt x="60" y="5"/>
                      <a:pt x="59" y="6"/>
                    </a:cubicBezTo>
                    <a:cubicBezTo>
                      <a:pt x="58" y="7"/>
                      <a:pt x="53" y="6"/>
                      <a:pt x="50" y="5"/>
                    </a:cubicBezTo>
                    <a:cubicBezTo>
                      <a:pt x="48" y="4"/>
                      <a:pt x="44" y="6"/>
                      <a:pt x="42" y="4"/>
                    </a:cubicBezTo>
                    <a:cubicBezTo>
                      <a:pt x="40" y="3"/>
                      <a:pt x="39" y="3"/>
                      <a:pt x="37" y="5"/>
                    </a:cubicBezTo>
                    <a:cubicBezTo>
                      <a:pt x="35" y="6"/>
                      <a:pt x="34" y="5"/>
                      <a:pt x="33" y="3"/>
                    </a:cubicBezTo>
                    <a:cubicBezTo>
                      <a:pt x="32" y="1"/>
                      <a:pt x="28" y="2"/>
                      <a:pt x="25" y="2"/>
                    </a:cubicBezTo>
                    <a:cubicBezTo>
                      <a:pt x="22" y="1"/>
                      <a:pt x="19" y="0"/>
                      <a:pt x="17" y="2"/>
                    </a:cubicBezTo>
                    <a:cubicBezTo>
                      <a:pt x="14" y="3"/>
                      <a:pt x="11" y="4"/>
                      <a:pt x="8" y="5"/>
                    </a:cubicBezTo>
                    <a:cubicBezTo>
                      <a:pt x="5" y="6"/>
                      <a:pt x="3" y="10"/>
                      <a:pt x="3" y="11"/>
                    </a:cubicBezTo>
                    <a:cubicBezTo>
                      <a:pt x="2" y="12"/>
                      <a:pt x="0" y="13"/>
                      <a:pt x="0" y="12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494" name="Freeform 15">
                <a:extLst>
                  <a:ext uri="{FF2B5EF4-FFF2-40B4-BE49-F238E27FC236}">
                    <a16:creationId xmlns:a16="http://schemas.microsoft.com/office/drawing/2014/main" id="{1BAFF0E4-408B-2928-8FC1-6F618E8DA6B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2556" y="3998245"/>
                <a:ext cx="666995" cy="506793"/>
              </a:xfrm>
              <a:custGeom>
                <a:avLst/>
                <a:gdLst>
                  <a:gd name="T0" fmla="*/ 6 w 165"/>
                  <a:gd name="T1" fmla="*/ 68 h 125"/>
                  <a:gd name="T2" fmla="*/ 13 w 165"/>
                  <a:gd name="T3" fmla="*/ 89 h 125"/>
                  <a:gd name="T4" fmla="*/ 4 w 165"/>
                  <a:gd name="T5" fmla="*/ 96 h 125"/>
                  <a:gd name="T6" fmla="*/ 10 w 165"/>
                  <a:gd name="T7" fmla="*/ 106 h 125"/>
                  <a:gd name="T8" fmla="*/ 9 w 165"/>
                  <a:gd name="T9" fmla="*/ 118 h 125"/>
                  <a:gd name="T10" fmla="*/ 20 w 165"/>
                  <a:gd name="T11" fmla="*/ 115 h 125"/>
                  <a:gd name="T12" fmla="*/ 35 w 165"/>
                  <a:gd name="T13" fmla="*/ 110 h 125"/>
                  <a:gd name="T14" fmla="*/ 52 w 165"/>
                  <a:gd name="T15" fmla="*/ 111 h 125"/>
                  <a:gd name="T16" fmla="*/ 68 w 165"/>
                  <a:gd name="T17" fmla="*/ 114 h 125"/>
                  <a:gd name="T18" fmla="*/ 79 w 165"/>
                  <a:gd name="T19" fmla="*/ 117 h 125"/>
                  <a:gd name="T20" fmla="*/ 87 w 165"/>
                  <a:gd name="T21" fmla="*/ 118 h 125"/>
                  <a:gd name="T22" fmla="*/ 96 w 165"/>
                  <a:gd name="T23" fmla="*/ 118 h 125"/>
                  <a:gd name="T24" fmla="*/ 101 w 165"/>
                  <a:gd name="T25" fmla="*/ 119 h 125"/>
                  <a:gd name="T26" fmla="*/ 108 w 165"/>
                  <a:gd name="T27" fmla="*/ 120 h 125"/>
                  <a:gd name="T28" fmla="*/ 117 w 165"/>
                  <a:gd name="T29" fmla="*/ 120 h 125"/>
                  <a:gd name="T30" fmla="*/ 127 w 165"/>
                  <a:gd name="T31" fmla="*/ 122 h 125"/>
                  <a:gd name="T32" fmla="*/ 132 w 165"/>
                  <a:gd name="T33" fmla="*/ 121 h 125"/>
                  <a:gd name="T34" fmla="*/ 135 w 165"/>
                  <a:gd name="T35" fmla="*/ 108 h 125"/>
                  <a:gd name="T36" fmla="*/ 142 w 165"/>
                  <a:gd name="T37" fmla="*/ 107 h 125"/>
                  <a:gd name="T38" fmla="*/ 150 w 165"/>
                  <a:gd name="T39" fmla="*/ 104 h 125"/>
                  <a:gd name="T40" fmla="*/ 146 w 165"/>
                  <a:gd name="T41" fmla="*/ 89 h 125"/>
                  <a:gd name="T42" fmla="*/ 143 w 165"/>
                  <a:gd name="T43" fmla="*/ 80 h 125"/>
                  <a:gd name="T44" fmla="*/ 156 w 165"/>
                  <a:gd name="T45" fmla="*/ 82 h 125"/>
                  <a:gd name="T46" fmla="*/ 163 w 165"/>
                  <a:gd name="T47" fmla="*/ 73 h 125"/>
                  <a:gd name="T48" fmla="*/ 156 w 165"/>
                  <a:gd name="T49" fmla="*/ 66 h 125"/>
                  <a:gd name="T50" fmla="*/ 146 w 165"/>
                  <a:gd name="T51" fmla="*/ 66 h 125"/>
                  <a:gd name="T52" fmla="*/ 143 w 165"/>
                  <a:gd name="T53" fmla="*/ 57 h 125"/>
                  <a:gd name="T54" fmla="*/ 130 w 165"/>
                  <a:gd name="T55" fmla="*/ 41 h 125"/>
                  <a:gd name="T56" fmla="*/ 129 w 165"/>
                  <a:gd name="T57" fmla="*/ 31 h 125"/>
                  <a:gd name="T58" fmla="*/ 127 w 165"/>
                  <a:gd name="T59" fmla="*/ 17 h 125"/>
                  <a:gd name="T60" fmla="*/ 118 w 165"/>
                  <a:gd name="T61" fmla="*/ 9 h 125"/>
                  <a:gd name="T62" fmla="*/ 105 w 165"/>
                  <a:gd name="T63" fmla="*/ 10 h 125"/>
                  <a:gd name="T64" fmla="*/ 100 w 165"/>
                  <a:gd name="T65" fmla="*/ 8 h 125"/>
                  <a:gd name="T66" fmla="*/ 96 w 165"/>
                  <a:gd name="T67" fmla="*/ 3 h 125"/>
                  <a:gd name="T68" fmla="*/ 88 w 165"/>
                  <a:gd name="T69" fmla="*/ 4 h 125"/>
                  <a:gd name="T70" fmla="*/ 80 w 165"/>
                  <a:gd name="T71" fmla="*/ 1 h 125"/>
                  <a:gd name="T72" fmla="*/ 76 w 165"/>
                  <a:gd name="T73" fmla="*/ 1 h 125"/>
                  <a:gd name="T74" fmla="*/ 67 w 165"/>
                  <a:gd name="T75" fmla="*/ 10 h 125"/>
                  <a:gd name="T76" fmla="*/ 55 w 165"/>
                  <a:gd name="T77" fmla="*/ 13 h 125"/>
                  <a:gd name="T78" fmla="*/ 54 w 165"/>
                  <a:gd name="T79" fmla="*/ 23 h 125"/>
                  <a:gd name="T80" fmla="*/ 54 w 165"/>
                  <a:gd name="T81" fmla="*/ 28 h 125"/>
                  <a:gd name="T82" fmla="*/ 44 w 165"/>
                  <a:gd name="T83" fmla="*/ 34 h 125"/>
                  <a:gd name="T84" fmla="*/ 40 w 165"/>
                  <a:gd name="T85" fmla="*/ 47 h 125"/>
                  <a:gd name="T86" fmla="*/ 40 w 165"/>
                  <a:gd name="T87" fmla="*/ 56 h 125"/>
                  <a:gd name="T88" fmla="*/ 35 w 165"/>
                  <a:gd name="T89" fmla="*/ 53 h 125"/>
                  <a:gd name="T90" fmla="*/ 28 w 165"/>
                  <a:gd name="T91" fmla="*/ 56 h 125"/>
                  <a:gd name="T92" fmla="*/ 22 w 165"/>
                  <a:gd name="T93" fmla="*/ 61 h 125"/>
                  <a:gd name="T94" fmla="*/ 12 w 165"/>
                  <a:gd name="T95" fmla="*/ 61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5" h="125">
                    <a:moveTo>
                      <a:pt x="5" y="62"/>
                    </a:moveTo>
                    <a:cubicBezTo>
                      <a:pt x="5" y="62"/>
                      <a:pt x="5" y="65"/>
                      <a:pt x="6" y="68"/>
                    </a:cubicBezTo>
                    <a:cubicBezTo>
                      <a:pt x="7" y="70"/>
                      <a:pt x="11" y="78"/>
                      <a:pt x="12" y="81"/>
                    </a:cubicBezTo>
                    <a:cubicBezTo>
                      <a:pt x="13" y="83"/>
                      <a:pt x="13" y="86"/>
                      <a:pt x="13" y="89"/>
                    </a:cubicBezTo>
                    <a:cubicBezTo>
                      <a:pt x="13" y="92"/>
                      <a:pt x="14" y="92"/>
                      <a:pt x="11" y="93"/>
                    </a:cubicBezTo>
                    <a:cubicBezTo>
                      <a:pt x="8" y="94"/>
                      <a:pt x="7" y="93"/>
                      <a:pt x="4" y="96"/>
                    </a:cubicBezTo>
                    <a:cubicBezTo>
                      <a:pt x="2" y="99"/>
                      <a:pt x="0" y="102"/>
                      <a:pt x="1" y="102"/>
                    </a:cubicBezTo>
                    <a:cubicBezTo>
                      <a:pt x="3" y="103"/>
                      <a:pt x="9" y="104"/>
                      <a:pt x="10" y="106"/>
                    </a:cubicBezTo>
                    <a:cubicBezTo>
                      <a:pt x="10" y="108"/>
                      <a:pt x="10" y="113"/>
                      <a:pt x="9" y="114"/>
                    </a:cubicBezTo>
                    <a:cubicBezTo>
                      <a:pt x="9" y="116"/>
                      <a:pt x="9" y="118"/>
                      <a:pt x="9" y="118"/>
                    </a:cubicBezTo>
                    <a:cubicBezTo>
                      <a:pt x="9" y="118"/>
                      <a:pt x="13" y="117"/>
                      <a:pt x="15" y="118"/>
                    </a:cubicBezTo>
                    <a:cubicBezTo>
                      <a:pt x="17" y="119"/>
                      <a:pt x="20" y="115"/>
                      <a:pt x="20" y="115"/>
                    </a:cubicBezTo>
                    <a:cubicBezTo>
                      <a:pt x="20" y="115"/>
                      <a:pt x="22" y="111"/>
                      <a:pt x="25" y="111"/>
                    </a:cubicBezTo>
                    <a:cubicBezTo>
                      <a:pt x="28" y="111"/>
                      <a:pt x="31" y="111"/>
                      <a:pt x="35" y="110"/>
                    </a:cubicBezTo>
                    <a:cubicBezTo>
                      <a:pt x="39" y="109"/>
                      <a:pt x="39" y="111"/>
                      <a:pt x="41" y="111"/>
                    </a:cubicBezTo>
                    <a:cubicBezTo>
                      <a:pt x="43" y="110"/>
                      <a:pt x="48" y="110"/>
                      <a:pt x="52" y="111"/>
                    </a:cubicBezTo>
                    <a:cubicBezTo>
                      <a:pt x="56" y="111"/>
                      <a:pt x="59" y="112"/>
                      <a:pt x="61" y="112"/>
                    </a:cubicBezTo>
                    <a:cubicBezTo>
                      <a:pt x="63" y="113"/>
                      <a:pt x="66" y="114"/>
                      <a:pt x="68" y="114"/>
                    </a:cubicBezTo>
                    <a:cubicBezTo>
                      <a:pt x="71" y="114"/>
                      <a:pt x="73" y="114"/>
                      <a:pt x="73" y="117"/>
                    </a:cubicBezTo>
                    <a:cubicBezTo>
                      <a:pt x="74" y="119"/>
                      <a:pt x="78" y="116"/>
                      <a:pt x="79" y="117"/>
                    </a:cubicBezTo>
                    <a:cubicBezTo>
                      <a:pt x="81" y="118"/>
                      <a:pt x="82" y="118"/>
                      <a:pt x="83" y="117"/>
                    </a:cubicBezTo>
                    <a:cubicBezTo>
                      <a:pt x="84" y="116"/>
                      <a:pt x="86" y="119"/>
                      <a:pt x="87" y="118"/>
                    </a:cubicBezTo>
                    <a:cubicBezTo>
                      <a:pt x="88" y="117"/>
                      <a:pt x="90" y="116"/>
                      <a:pt x="92" y="118"/>
                    </a:cubicBezTo>
                    <a:cubicBezTo>
                      <a:pt x="93" y="120"/>
                      <a:pt x="94" y="118"/>
                      <a:pt x="96" y="118"/>
                    </a:cubicBezTo>
                    <a:cubicBezTo>
                      <a:pt x="98" y="118"/>
                      <a:pt x="98" y="120"/>
                      <a:pt x="99" y="121"/>
                    </a:cubicBezTo>
                    <a:cubicBezTo>
                      <a:pt x="101" y="123"/>
                      <a:pt x="100" y="120"/>
                      <a:pt x="101" y="119"/>
                    </a:cubicBezTo>
                    <a:cubicBezTo>
                      <a:pt x="102" y="119"/>
                      <a:pt x="104" y="117"/>
                      <a:pt x="106" y="116"/>
                    </a:cubicBezTo>
                    <a:cubicBezTo>
                      <a:pt x="108" y="116"/>
                      <a:pt x="108" y="118"/>
                      <a:pt x="108" y="120"/>
                    </a:cubicBezTo>
                    <a:cubicBezTo>
                      <a:pt x="109" y="122"/>
                      <a:pt x="111" y="123"/>
                      <a:pt x="113" y="122"/>
                    </a:cubicBezTo>
                    <a:cubicBezTo>
                      <a:pt x="114" y="121"/>
                      <a:pt x="116" y="119"/>
                      <a:pt x="117" y="120"/>
                    </a:cubicBezTo>
                    <a:cubicBezTo>
                      <a:pt x="118" y="122"/>
                      <a:pt x="120" y="120"/>
                      <a:pt x="122" y="120"/>
                    </a:cubicBezTo>
                    <a:cubicBezTo>
                      <a:pt x="124" y="120"/>
                      <a:pt x="127" y="120"/>
                      <a:pt x="127" y="122"/>
                    </a:cubicBezTo>
                    <a:cubicBezTo>
                      <a:pt x="128" y="124"/>
                      <a:pt x="130" y="125"/>
                      <a:pt x="132" y="125"/>
                    </a:cubicBezTo>
                    <a:cubicBezTo>
                      <a:pt x="134" y="125"/>
                      <a:pt x="134" y="123"/>
                      <a:pt x="132" y="121"/>
                    </a:cubicBezTo>
                    <a:cubicBezTo>
                      <a:pt x="131" y="119"/>
                      <a:pt x="130" y="118"/>
                      <a:pt x="131" y="116"/>
                    </a:cubicBezTo>
                    <a:cubicBezTo>
                      <a:pt x="133" y="114"/>
                      <a:pt x="134" y="110"/>
                      <a:pt x="135" y="108"/>
                    </a:cubicBezTo>
                    <a:cubicBezTo>
                      <a:pt x="137" y="107"/>
                      <a:pt x="138" y="105"/>
                      <a:pt x="139" y="106"/>
                    </a:cubicBezTo>
                    <a:cubicBezTo>
                      <a:pt x="140" y="106"/>
                      <a:pt x="142" y="108"/>
                      <a:pt x="142" y="107"/>
                    </a:cubicBezTo>
                    <a:cubicBezTo>
                      <a:pt x="143" y="106"/>
                      <a:pt x="144" y="104"/>
                      <a:pt x="145" y="105"/>
                    </a:cubicBezTo>
                    <a:cubicBezTo>
                      <a:pt x="146" y="105"/>
                      <a:pt x="150" y="104"/>
                      <a:pt x="150" y="104"/>
                    </a:cubicBezTo>
                    <a:cubicBezTo>
                      <a:pt x="150" y="104"/>
                      <a:pt x="147" y="99"/>
                      <a:pt x="147" y="97"/>
                    </a:cubicBezTo>
                    <a:cubicBezTo>
                      <a:pt x="147" y="95"/>
                      <a:pt x="147" y="90"/>
                      <a:pt x="146" y="89"/>
                    </a:cubicBezTo>
                    <a:cubicBezTo>
                      <a:pt x="144" y="88"/>
                      <a:pt x="142" y="87"/>
                      <a:pt x="141" y="85"/>
                    </a:cubicBezTo>
                    <a:cubicBezTo>
                      <a:pt x="141" y="82"/>
                      <a:pt x="142" y="80"/>
                      <a:pt x="143" y="80"/>
                    </a:cubicBezTo>
                    <a:cubicBezTo>
                      <a:pt x="145" y="79"/>
                      <a:pt x="147" y="79"/>
                      <a:pt x="149" y="80"/>
                    </a:cubicBezTo>
                    <a:cubicBezTo>
                      <a:pt x="151" y="81"/>
                      <a:pt x="155" y="83"/>
                      <a:pt x="156" y="82"/>
                    </a:cubicBezTo>
                    <a:cubicBezTo>
                      <a:pt x="157" y="80"/>
                      <a:pt x="160" y="78"/>
                      <a:pt x="162" y="77"/>
                    </a:cubicBezTo>
                    <a:cubicBezTo>
                      <a:pt x="165" y="76"/>
                      <a:pt x="165" y="74"/>
                      <a:pt x="163" y="73"/>
                    </a:cubicBezTo>
                    <a:cubicBezTo>
                      <a:pt x="161" y="72"/>
                      <a:pt x="160" y="72"/>
                      <a:pt x="159" y="70"/>
                    </a:cubicBezTo>
                    <a:cubicBezTo>
                      <a:pt x="158" y="68"/>
                      <a:pt x="158" y="67"/>
                      <a:pt x="156" y="66"/>
                    </a:cubicBezTo>
                    <a:cubicBezTo>
                      <a:pt x="155" y="66"/>
                      <a:pt x="153" y="65"/>
                      <a:pt x="151" y="65"/>
                    </a:cubicBezTo>
                    <a:cubicBezTo>
                      <a:pt x="150" y="65"/>
                      <a:pt x="147" y="67"/>
                      <a:pt x="146" y="66"/>
                    </a:cubicBezTo>
                    <a:cubicBezTo>
                      <a:pt x="146" y="64"/>
                      <a:pt x="148" y="62"/>
                      <a:pt x="147" y="60"/>
                    </a:cubicBezTo>
                    <a:cubicBezTo>
                      <a:pt x="147" y="59"/>
                      <a:pt x="145" y="57"/>
                      <a:pt x="143" y="57"/>
                    </a:cubicBezTo>
                    <a:cubicBezTo>
                      <a:pt x="141" y="56"/>
                      <a:pt x="138" y="54"/>
                      <a:pt x="137" y="52"/>
                    </a:cubicBezTo>
                    <a:cubicBezTo>
                      <a:pt x="136" y="51"/>
                      <a:pt x="131" y="43"/>
                      <a:pt x="130" y="41"/>
                    </a:cubicBezTo>
                    <a:cubicBezTo>
                      <a:pt x="129" y="39"/>
                      <a:pt x="126" y="38"/>
                      <a:pt x="127" y="36"/>
                    </a:cubicBezTo>
                    <a:cubicBezTo>
                      <a:pt x="127" y="34"/>
                      <a:pt x="129" y="33"/>
                      <a:pt x="129" y="31"/>
                    </a:cubicBezTo>
                    <a:cubicBezTo>
                      <a:pt x="130" y="28"/>
                      <a:pt x="128" y="27"/>
                      <a:pt x="127" y="25"/>
                    </a:cubicBezTo>
                    <a:cubicBezTo>
                      <a:pt x="126" y="22"/>
                      <a:pt x="127" y="20"/>
                      <a:pt x="127" y="17"/>
                    </a:cubicBezTo>
                    <a:cubicBezTo>
                      <a:pt x="126" y="15"/>
                      <a:pt x="125" y="15"/>
                      <a:pt x="123" y="14"/>
                    </a:cubicBezTo>
                    <a:cubicBezTo>
                      <a:pt x="121" y="12"/>
                      <a:pt x="119" y="10"/>
                      <a:pt x="118" y="9"/>
                    </a:cubicBezTo>
                    <a:cubicBezTo>
                      <a:pt x="116" y="8"/>
                      <a:pt x="112" y="8"/>
                      <a:pt x="110" y="8"/>
                    </a:cubicBezTo>
                    <a:cubicBezTo>
                      <a:pt x="107" y="9"/>
                      <a:pt x="106" y="10"/>
                      <a:pt x="105" y="10"/>
                    </a:cubicBezTo>
                    <a:cubicBezTo>
                      <a:pt x="103" y="10"/>
                      <a:pt x="102" y="14"/>
                      <a:pt x="101" y="12"/>
                    </a:cubicBezTo>
                    <a:cubicBezTo>
                      <a:pt x="100" y="11"/>
                      <a:pt x="100" y="9"/>
                      <a:pt x="100" y="8"/>
                    </a:cubicBezTo>
                    <a:cubicBezTo>
                      <a:pt x="100" y="7"/>
                      <a:pt x="100" y="6"/>
                      <a:pt x="100" y="5"/>
                    </a:cubicBezTo>
                    <a:cubicBezTo>
                      <a:pt x="99" y="3"/>
                      <a:pt x="97" y="4"/>
                      <a:pt x="96" y="3"/>
                    </a:cubicBezTo>
                    <a:cubicBezTo>
                      <a:pt x="95" y="2"/>
                      <a:pt x="94" y="2"/>
                      <a:pt x="92" y="3"/>
                    </a:cubicBezTo>
                    <a:cubicBezTo>
                      <a:pt x="91" y="4"/>
                      <a:pt x="89" y="5"/>
                      <a:pt x="88" y="4"/>
                    </a:cubicBezTo>
                    <a:cubicBezTo>
                      <a:pt x="88" y="3"/>
                      <a:pt x="87" y="0"/>
                      <a:pt x="85" y="0"/>
                    </a:cubicBezTo>
                    <a:cubicBezTo>
                      <a:pt x="83" y="1"/>
                      <a:pt x="81" y="1"/>
                      <a:pt x="80" y="1"/>
                    </a:cubicBezTo>
                    <a:cubicBezTo>
                      <a:pt x="80" y="1"/>
                      <a:pt x="80" y="1"/>
                      <a:pt x="80" y="1"/>
                    </a:cubicBezTo>
                    <a:cubicBezTo>
                      <a:pt x="80" y="1"/>
                      <a:pt x="79" y="1"/>
                      <a:pt x="76" y="1"/>
                    </a:cubicBezTo>
                    <a:cubicBezTo>
                      <a:pt x="73" y="0"/>
                      <a:pt x="72" y="3"/>
                      <a:pt x="71" y="7"/>
                    </a:cubicBezTo>
                    <a:cubicBezTo>
                      <a:pt x="70" y="11"/>
                      <a:pt x="69" y="11"/>
                      <a:pt x="67" y="10"/>
                    </a:cubicBezTo>
                    <a:cubicBezTo>
                      <a:pt x="66" y="10"/>
                      <a:pt x="63" y="7"/>
                      <a:pt x="61" y="8"/>
                    </a:cubicBezTo>
                    <a:cubicBezTo>
                      <a:pt x="59" y="8"/>
                      <a:pt x="55" y="13"/>
                      <a:pt x="55" y="13"/>
                    </a:cubicBezTo>
                    <a:cubicBezTo>
                      <a:pt x="55" y="13"/>
                      <a:pt x="53" y="17"/>
                      <a:pt x="52" y="20"/>
                    </a:cubicBezTo>
                    <a:cubicBezTo>
                      <a:pt x="51" y="22"/>
                      <a:pt x="52" y="23"/>
                      <a:pt x="54" y="23"/>
                    </a:cubicBezTo>
                    <a:cubicBezTo>
                      <a:pt x="57" y="23"/>
                      <a:pt x="57" y="24"/>
                      <a:pt x="56" y="25"/>
                    </a:cubicBezTo>
                    <a:cubicBezTo>
                      <a:pt x="54" y="27"/>
                      <a:pt x="56" y="29"/>
                      <a:pt x="54" y="28"/>
                    </a:cubicBezTo>
                    <a:cubicBezTo>
                      <a:pt x="52" y="28"/>
                      <a:pt x="50" y="27"/>
                      <a:pt x="49" y="29"/>
                    </a:cubicBezTo>
                    <a:cubicBezTo>
                      <a:pt x="47" y="31"/>
                      <a:pt x="48" y="35"/>
                      <a:pt x="44" y="34"/>
                    </a:cubicBezTo>
                    <a:cubicBezTo>
                      <a:pt x="41" y="33"/>
                      <a:pt x="40" y="34"/>
                      <a:pt x="41" y="39"/>
                    </a:cubicBezTo>
                    <a:cubicBezTo>
                      <a:pt x="41" y="43"/>
                      <a:pt x="42" y="43"/>
                      <a:pt x="40" y="47"/>
                    </a:cubicBezTo>
                    <a:cubicBezTo>
                      <a:pt x="38" y="50"/>
                      <a:pt x="41" y="51"/>
                      <a:pt x="43" y="52"/>
                    </a:cubicBezTo>
                    <a:cubicBezTo>
                      <a:pt x="44" y="53"/>
                      <a:pt x="43" y="56"/>
                      <a:pt x="40" y="56"/>
                    </a:cubicBezTo>
                    <a:cubicBezTo>
                      <a:pt x="38" y="56"/>
                      <a:pt x="38" y="54"/>
                      <a:pt x="38" y="52"/>
                    </a:cubicBezTo>
                    <a:cubicBezTo>
                      <a:pt x="38" y="51"/>
                      <a:pt x="36" y="53"/>
                      <a:pt x="35" y="53"/>
                    </a:cubicBezTo>
                    <a:cubicBezTo>
                      <a:pt x="34" y="53"/>
                      <a:pt x="33" y="53"/>
                      <a:pt x="32" y="55"/>
                    </a:cubicBezTo>
                    <a:cubicBezTo>
                      <a:pt x="32" y="56"/>
                      <a:pt x="30" y="56"/>
                      <a:pt x="28" y="56"/>
                    </a:cubicBezTo>
                    <a:cubicBezTo>
                      <a:pt x="26" y="56"/>
                      <a:pt x="27" y="57"/>
                      <a:pt x="26" y="59"/>
                    </a:cubicBezTo>
                    <a:cubicBezTo>
                      <a:pt x="25" y="61"/>
                      <a:pt x="23" y="59"/>
                      <a:pt x="22" y="61"/>
                    </a:cubicBezTo>
                    <a:cubicBezTo>
                      <a:pt x="20" y="64"/>
                      <a:pt x="18" y="63"/>
                      <a:pt x="17" y="61"/>
                    </a:cubicBezTo>
                    <a:cubicBezTo>
                      <a:pt x="17" y="60"/>
                      <a:pt x="14" y="61"/>
                      <a:pt x="12" y="61"/>
                    </a:cubicBezTo>
                    <a:cubicBezTo>
                      <a:pt x="10" y="61"/>
                      <a:pt x="5" y="62"/>
                      <a:pt x="5" y="62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495" name="Freeform 16">
                <a:extLst>
                  <a:ext uri="{FF2B5EF4-FFF2-40B4-BE49-F238E27FC236}">
                    <a16:creationId xmlns:a16="http://schemas.microsoft.com/office/drawing/2014/main" id="{63917494-0D06-5452-1DEE-28B7019825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4551" y="4102992"/>
                <a:ext cx="211036" cy="98586"/>
              </a:xfrm>
              <a:custGeom>
                <a:avLst/>
                <a:gdLst>
                  <a:gd name="T0" fmla="*/ 24 w 52"/>
                  <a:gd name="T1" fmla="*/ 1 h 24"/>
                  <a:gd name="T2" fmla="*/ 24 w 52"/>
                  <a:gd name="T3" fmla="*/ 5 h 24"/>
                  <a:gd name="T4" fmla="*/ 20 w 52"/>
                  <a:gd name="T5" fmla="*/ 9 h 24"/>
                  <a:gd name="T6" fmla="*/ 14 w 52"/>
                  <a:gd name="T7" fmla="*/ 8 h 24"/>
                  <a:gd name="T8" fmla="*/ 4 w 52"/>
                  <a:gd name="T9" fmla="*/ 8 h 24"/>
                  <a:gd name="T10" fmla="*/ 3 w 52"/>
                  <a:gd name="T11" fmla="*/ 14 h 24"/>
                  <a:gd name="T12" fmla="*/ 8 w 52"/>
                  <a:gd name="T13" fmla="*/ 16 h 24"/>
                  <a:gd name="T14" fmla="*/ 7 w 52"/>
                  <a:gd name="T15" fmla="*/ 18 h 24"/>
                  <a:gd name="T16" fmla="*/ 2 w 52"/>
                  <a:gd name="T17" fmla="*/ 20 h 24"/>
                  <a:gd name="T18" fmla="*/ 0 w 52"/>
                  <a:gd name="T19" fmla="*/ 22 h 24"/>
                  <a:gd name="T20" fmla="*/ 28 w 52"/>
                  <a:gd name="T21" fmla="*/ 24 h 24"/>
                  <a:gd name="T22" fmla="*/ 50 w 52"/>
                  <a:gd name="T23" fmla="*/ 23 h 24"/>
                  <a:gd name="T24" fmla="*/ 50 w 52"/>
                  <a:gd name="T25" fmla="*/ 18 h 24"/>
                  <a:gd name="T26" fmla="*/ 51 w 52"/>
                  <a:gd name="T27" fmla="*/ 11 h 24"/>
                  <a:gd name="T28" fmla="*/ 49 w 52"/>
                  <a:gd name="T29" fmla="*/ 6 h 24"/>
                  <a:gd name="T30" fmla="*/ 42 w 52"/>
                  <a:gd name="T31" fmla="*/ 5 h 24"/>
                  <a:gd name="T32" fmla="*/ 35 w 52"/>
                  <a:gd name="T33" fmla="*/ 5 h 24"/>
                  <a:gd name="T34" fmla="*/ 29 w 52"/>
                  <a:gd name="T35" fmla="*/ 1 h 24"/>
                  <a:gd name="T36" fmla="*/ 24 w 52"/>
                  <a:gd name="T37" fmla="*/ 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" h="24">
                    <a:moveTo>
                      <a:pt x="24" y="1"/>
                    </a:moveTo>
                    <a:cubicBezTo>
                      <a:pt x="24" y="1"/>
                      <a:pt x="24" y="2"/>
                      <a:pt x="24" y="5"/>
                    </a:cubicBezTo>
                    <a:cubicBezTo>
                      <a:pt x="24" y="7"/>
                      <a:pt x="22" y="9"/>
                      <a:pt x="20" y="9"/>
                    </a:cubicBezTo>
                    <a:cubicBezTo>
                      <a:pt x="17" y="9"/>
                      <a:pt x="16" y="8"/>
                      <a:pt x="14" y="8"/>
                    </a:cubicBezTo>
                    <a:cubicBezTo>
                      <a:pt x="12" y="7"/>
                      <a:pt x="6" y="8"/>
                      <a:pt x="4" y="8"/>
                    </a:cubicBezTo>
                    <a:cubicBezTo>
                      <a:pt x="2" y="8"/>
                      <a:pt x="3" y="13"/>
                      <a:pt x="3" y="14"/>
                    </a:cubicBezTo>
                    <a:cubicBezTo>
                      <a:pt x="4" y="16"/>
                      <a:pt x="6" y="16"/>
                      <a:pt x="8" y="16"/>
                    </a:cubicBezTo>
                    <a:cubicBezTo>
                      <a:pt x="10" y="16"/>
                      <a:pt x="9" y="18"/>
                      <a:pt x="7" y="18"/>
                    </a:cubicBezTo>
                    <a:cubicBezTo>
                      <a:pt x="5" y="19"/>
                      <a:pt x="3" y="19"/>
                      <a:pt x="2" y="20"/>
                    </a:cubicBezTo>
                    <a:cubicBezTo>
                      <a:pt x="2" y="22"/>
                      <a:pt x="0" y="22"/>
                      <a:pt x="0" y="22"/>
                    </a:cubicBezTo>
                    <a:cubicBezTo>
                      <a:pt x="0" y="22"/>
                      <a:pt x="17" y="24"/>
                      <a:pt x="28" y="24"/>
                    </a:cubicBezTo>
                    <a:cubicBezTo>
                      <a:pt x="38" y="24"/>
                      <a:pt x="50" y="23"/>
                      <a:pt x="50" y="23"/>
                    </a:cubicBezTo>
                    <a:cubicBezTo>
                      <a:pt x="50" y="22"/>
                      <a:pt x="50" y="20"/>
                      <a:pt x="50" y="18"/>
                    </a:cubicBezTo>
                    <a:cubicBezTo>
                      <a:pt x="50" y="16"/>
                      <a:pt x="51" y="12"/>
                      <a:pt x="51" y="11"/>
                    </a:cubicBezTo>
                    <a:cubicBezTo>
                      <a:pt x="52" y="10"/>
                      <a:pt x="51" y="8"/>
                      <a:pt x="49" y="6"/>
                    </a:cubicBezTo>
                    <a:cubicBezTo>
                      <a:pt x="47" y="4"/>
                      <a:pt x="44" y="4"/>
                      <a:pt x="42" y="5"/>
                    </a:cubicBezTo>
                    <a:cubicBezTo>
                      <a:pt x="39" y="5"/>
                      <a:pt x="38" y="6"/>
                      <a:pt x="35" y="5"/>
                    </a:cubicBezTo>
                    <a:cubicBezTo>
                      <a:pt x="32" y="3"/>
                      <a:pt x="32" y="1"/>
                      <a:pt x="29" y="1"/>
                    </a:cubicBezTo>
                    <a:cubicBezTo>
                      <a:pt x="27" y="0"/>
                      <a:pt x="24" y="1"/>
                      <a:pt x="24" y="1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496" name="Gruppieren 281">
                <a:extLst>
                  <a:ext uri="{FF2B5EF4-FFF2-40B4-BE49-F238E27FC236}">
                    <a16:creationId xmlns:a16="http://schemas.microsoft.com/office/drawing/2014/main" id="{FBDCF0F4-F011-42B4-C179-E0B4A1D7EABA}"/>
                  </a:ext>
                </a:extLst>
              </p:cNvPr>
              <p:cNvGrpSpPr/>
              <p:nvPr/>
            </p:nvGrpSpPr>
            <p:grpSpPr bwMode="gray">
              <a:xfrm>
                <a:off x="3107076" y="1727689"/>
                <a:ext cx="1589697" cy="2027172"/>
                <a:chOff x="3062289" y="1704975"/>
                <a:chExt cx="1638300" cy="2089150"/>
              </a:xfrm>
              <a:grpFill/>
            </p:grpSpPr>
            <p:sp>
              <p:nvSpPr>
                <p:cNvPr id="660" name="Freeform 18">
                  <a:extLst>
                    <a:ext uri="{FF2B5EF4-FFF2-40B4-BE49-F238E27FC236}">
                      <a16:creationId xmlns:a16="http://schemas.microsoft.com/office/drawing/2014/main" id="{95B4CFAF-3284-86CF-9426-43DFB9D1E3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62289" y="1704975"/>
                  <a:ext cx="1638300" cy="2089150"/>
                </a:xfrm>
                <a:custGeom>
                  <a:avLst/>
                  <a:gdLst>
                    <a:gd name="T0" fmla="*/ 370 w 393"/>
                    <a:gd name="T1" fmla="*/ 47 h 501"/>
                    <a:gd name="T2" fmla="*/ 383 w 393"/>
                    <a:gd name="T3" fmla="*/ 23 h 501"/>
                    <a:gd name="T4" fmla="*/ 352 w 393"/>
                    <a:gd name="T5" fmla="*/ 23 h 501"/>
                    <a:gd name="T6" fmla="*/ 350 w 393"/>
                    <a:gd name="T7" fmla="*/ 12 h 501"/>
                    <a:gd name="T8" fmla="*/ 331 w 393"/>
                    <a:gd name="T9" fmla="*/ 22 h 501"/>
                    <a:gd name="T10" fmla="*/ 306 w 393"/>
                    <a:gd name="T11" fmla="*/ 29 h 501"/>
                    <a:gd name="T12" fmla="*/ 311 w 393"/>
                    <a:gd name="T13" fmla="*/ 8 h 501"/>
                    <a:gd name="T14" fmla="*/ 291 w 393"/>
                    <a:gd name="T15" fmla="*/ 13 h 501"/>
                    <a:gd name="T16" fmla="*/ 272 w 393"/>
                    <a:gd name="T17" fmla="*/ 46 h 501"/>
                    <a:gd name="T18" fmla="*/ 246 w 393"/>
                    <a:gd name="T19" fmla="*/ 33 h 501"/>
                    <a:gd name="T20" fmla="*/ 251 w 393"/>
                    <a:gd name="T21" fmla="*/ 48 h 501"/>
                    <a:gd name="T22" fmla="*/ 233 w 393"/>
                    <a:gd name="T23" fmla="*/ 58 h 501"/>
                    <a:gd name="T24" fmla="*/ 228 w 393"/>
                    <a:gd name="T25" fmla="*/ 48 h 501"/>
                    <a:gd name="T26" fmla="*/ 220 w 393"/>
                    <a:gd name="T27" fmla="*/ 43 h 501"/>
                    <a:gd name="T28" fmla="*/ 212 w 393"/>
                    <a:gd name="T29" fmla="*/ 52 h 501"/>
                    <a:gd name="T30" fmla="*/ 206 w 393"/>
                    <a:gd name="T31" fmla="*/ 61 h 501"/>
                    <a:gd name="T32" fmla="*/ 192 w 393"/>
                    <a:gd name="T33" fmla="*/ 77 h 501"/>
                    <a:gd name="T34" fmla="*/ 179 w 393"/>
                    <a:gd name="T35" fmla="*/ 90 h 501"/>
                    <a:gd name="T36" fmla="*/ 181 w 393"/>
                    <a:gd name="T37" fmla="*/ 107 h 501"/>
                    <a:gd name="T38" fmla="*/ 164 w 393"/>
                    <a:gd name="T39" fmla="*/ 118 h 501"/>
                    <a:gd name="T40" fmla="*/ 165 w 393"/>
                    <a:gd name="T41" fmla="*/ 133 h 501"/>
                    <a:gd name="T42" fmla="*/ 155 w 393"/>
                    <a:gd name="T43" fmla="*/ 142 h 501"/>
                    <a:gd name="T44" fmla="*/ 157 w 393"/>
                    <a:gd name="T45" fmla="*/ 154 h 501"/>
                    <a:gd name="T46" fmla="*/ 130 w 393"/>
                    <a:gd name="T47" fmla="*/ 168 h 501"/>
                    <a:gd name="T48" fmla="*/ 134 w 393"/>
                    <a:gd name="T49" fmla="*/ 191 h 501"/>
                    <a:gd name="T50" fmla="*/ 124 w 393"/>
                    <a:gd name="T51" fmla="*/ 202 h 501"/>
                    <a:gd name="T52" fmla="*/ 117 w 393"/>
                    <a:gd name="T53" fmla="*/ 222 h 501"/>
                    <a:gd name="T54" fmla="*/ 114 w 393"/>
                    <a:gd name="T55" fmla="*/ 232 h 501"/>
                    <a:gd name="T56" fmla="*/ 108 w 393"/>
                    <a:gd name="T57" fmla="*/ 244 h 501"/>
                    <a:gd name="T58" fmla="*/ 104 w 393"/>
                    <a:gd name="T59" fmla="*/ 261 h 501"/>
                    <a:gd name="T60" fmla="*/ 84 w 393"/>
                    <a:gd name="T61" fmla="*/ 281 h 501"/>
                    <a:gd name="T62" fmla="*/ 99 w 393"/>
                    <a:gd name="T63" fmla="*/ 277 h 501"/>
                    <a:gd name="T64" fmla="*/ 85 w 393"/>
                    <a:gd name="T65" fmla="*/ 300 h 501"/>
                    <a:gd name="T66" fmla="*/ 64 w 393"/>
                    <a:gd name="T67" fmla="*/ 300 h 501"/>
                    <a:gd name="T68" fmla="*/ 55 w 393"/>
                    <a:gd name="T69" fmla="*/ 315 h 501"/>
                    <a:gd name="T70" fmla="*/ 58 w 393"/>
                    <a:gd name="T71" fmla="*/ 329 h 501"/>
                    <a:gd name="T72" fmla="*/ 36 w 393"/>
                    <a:gd name="T73" fmla="*/ 328 h 501"/>
                    <a:gd name="T74" fmla="*/ 34 w 393"/>
                    <a:gd name="T75" fmla="*/ 331 h 501"/>
                    <a:gd name="T76" fmla="*/ 35 w 393"/>
                    <a:gd name="T77" fmla="*/ 352 h 501"/>
                    <a:gd name="T78" fmla="*/ 17 w 393"/>
                    <a:gd name="T79" fmla="*/ 348 h 501"/>
                    <a:gd name="T80" fmla="*/ 14 w 393"/>
                    <a:gd name="T81" fmla="*/ 358 h 501"/>
                    <a:gd name="T82" fmla="*/ 7 w 393"/>
                    <a:gd name="T83" fmla="*/ 360 h 501"/>
                    <a:gd name="T84" fmla="*/ 10 w 393"/>
                    <a:gd name="T85" fmla="*/ 375 h 501"/>
                    <a:gd name="T86" fmla="*/ 31 w 393"/>
                    <a:gd name="T87" fmla="*/ 381 h 501"/>
                    <a:gd name="T88" fmla="*/ 46 w 393"/>
                    <a:gd name="T89" fmla="*/ 385 h 501"/>
                    <a:gd name="T90" fmla="*/ 8 w 393"/>
                    <a:gd name="T91" fmla="*/ 391 h 501"/>
                    <a:gd name="T92" fmla="*/ 5 w 393"/>
                    <a:gd name="T93" fmla="*/ 401 h 501"/>
                    <a:gd name="T94" fmla="*/ 21 w 393"/>
                    <a:gd name="T95" fmla="*/ 423 h 501"/>
                    <a:gd name="T96" fmla="*/ 22 w 393"/>
                    <a:gd name="T97" fmla="*/ 428 h 501"/>
                    <a:gd name="T98" fmla="*/ 20 w 393"/>
                    <a:gd name="T99" fmla="*/ 450 h 501"/>
                    <a:gd name="T100" fmla="*/ 24 w 393"/>
                    <a:gd name="T101" fmla="*/ 457 h 501"/>
                    <a:gd name="T102" fmla="*/ 17 w 393"/>
                    <a:gd name="T103" fmla="*/ 466 h 501"/>
                    <a:gd name="T104" fmla="*/ 40 w 393"/>
                    <a:gd name="T105" fmla="*/ 499 h 501"/>
                    <a:gd name="T106" fmla="*/ 82 w 393"/>
                    <a:gd name="T107" fmla="*/ 463 h 501"/>
                    <a:gd name="T108" fmla="*/ 97 w 393"/>
                    <a:gd name="T109" fmla="*/ 444 h 501"/>
                    <a:gd name="T110" fmla="*/ 115 w 393"/>
                    <a:gd name="T111" fmla="*/ 445 h 501"/>
                    <a:gd name="T112" fmla="*/ 130 w 393"/>
                    <a:gd name="T113" fmla="*/ 377 h 501"/>
                    <a:gd name="T114" fmla="*/ 122 w 393"/>
                    <a:gd name="T115" fmla="*/ 281 h 501"/>
                    <a:gd name="T116" fmla="*/ 149 w 393"/>
                    <a:gd name="T117" fmla="*/ 200 h 501"/>
                    <a:gd name="T118" fmla="*/ 188 w 393"/>
                    <a:gd name="T119" fmla="*/ 119 h 501"/>
                    <a:gd name="T120" fmla="*/ 230 w 393"/>
                    <a:gd name="T121" fmla="*/ 85 h 501"/>
                    <a:gd name="T122" fmla="*/ 298 w 393"/>
                    <a:gd name="T123" fmla="*/ 94 h 501"/>
                    <a:gd name="T124" fmla="*/ 361 w 393"/>
                    <a:gd name="T125" fmla="*/ 54 h 5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93" h="501">
                      <a:moveTo>
                        <a:pt x="393" y="53"/>
                      </a:moveTo>
                      <a:cubicBezTo>
                        <a:pt x="393" y="53"/>
                        <a:pt x="393" y="52"/>
                        <a:pt x="391" y="51"/>
                      </a:cubicBezTo>
                      <a:cubicBezTo>
                        <a:pt x="389" y="51"/>
                        <a:pt x="387" y="50"/>
                        <a:pt x="386" y="51"/>
                      </a:cubicBezTo>
                      <a:cubicBezTo>
                        <a:pt x="386" y="53"/>
                        <a:pt x="387" y="56"/>
                        <a:pt x="386" y="54"/>
                      </a:cubicBezTo>
                      <a:cubicBezTo>
                        <a:pt x="384" y="53"/>
                        <a:pt x="381" y="49"/>
                        <a:pt x="381" y="49"/>
                      </a:cubicBezTo>
                      <a:cubicBezTo>
                        <a:pt x="380" y="50"/>
                        <a:pt x="381" y="51"/>
                        <a:pt x="380" y="53"/>
                      </a:cubicBezTo>
                      <a:cubicBezTo>
                        <a:pt x="379" y="56"/>
                        <a:pt x="378" y="57"/>
                        <a:pt x="377" y="55"/>
                      </a:cubicBezTo>
                      <a:cubicBezTo>
                        <a:pt x="377" y="54"/>
                        <a:pt x="377" y="54"/>
                        <a:pt x="375" y="54"/>
                      </a:cubicBezTo>
                      <a:cubicBezTo>
                        <a:pt x="373" y="55"/>
                        <a:pt x="372" y="52"/>
                        <a:pt x="374" y="51"/>
                      </a:cubicBezTo>
                      <a:cubicBezTo>
                        <a:pt x="375" y="50"/>
                        <a:pt x="376" y="47"/>
                        <a:pt x="375" y="48"/>
                      </a:cubicBezTo>
                      <a:cubicBezTo>
                        <a:pt x="373" y="48"/>
                        <a:pt x="371" y="48"/>
                        <a:pt x="370" y="47"/>
                      </a:cubicBezTo>
                      <a:cubicBezTo>
                        <a:pt x="369" y="46"/>
                        <a:pt x="371" y="45"/>
                        <a:pt x="369" y="44"/>
                      </a:cubicBezTo>
                      <a:cubicBezTo>
                        <a:pt x="367" y="44"/>
                        <a:pt x="363" y="42"/>
                        <a:pt x="362" y="42"/>
                      </a:cubicBezTo>
                      <a:cubicBezTo>
                        <a:pt x="360" y="42"/>
                        <a:pt x="358" y="42"/>
                        <a:pt x="357" y="40"/>
                      </a:cubicBezTo>
                      <a:cubicBezTo>
                        <a:pt x="357" y="38"/>
                        <a:pt x="358" y="38"/>
                        <a:pt x="360" y="38"/>
                      </a:cubicBezTo>
                      <a:cubicBezTo>
                        <a:pt x="362" y="38"/>
                        <a:pt x="366" y="40"/>
                        <a:pt x="368" y="40"/>
                      </a:cubicBezTo>
                      <a:cubicBezTo>
                        <a:pt x="369" y="40"/>
                        <a:pt x="374" y="42"/>
                        <a:pt x="376" y="41"/>
                      </a:cubicBezTo>
                      <a:cubicBezTo>
                        <a:pt x="379" y="41"/>
                        <a:pt x="381" y="41"/>
                        <a:pt x="382" y="39"/>
                      </a:cubicBezTo>
                      <a:cubicBezTo>
                        <a:pt x="382" y="36"/>
                        <a:pt x="384" y="36"/>
                        <a:pt x="388" y="35"/>
                      </a:cubicBezTo>
                      <a:cubicBezTo>
                        <a:pt x="391" y="34"/>
                        <a:pt x="392" y="31"/>
                        <a:pt x="391" y="28"/>
                      </a:cubicBezTo>
                      <a:cubicBezTo>
                        <a:pt x="389" y="26"/>
                        <a:pt x="389" y="27"/>
                        <a:pt x="387" y="27"/>
                      </a:cubicBezTo>
                      <a:cubicBezTo>
                        <a:pt x="385" y="27"/>
                        <a:pt x="386" y="24"/>
                        <a:pt x="383" y="23"/>
                      </a:cubicBezTo>
                      <a:cubicBezTo>
                        <a:pt x="381" y="22"/>
                        <a:pt x="380" y="24"/>
                        <a:pt x="378" y="24"/>
                      </a:cubicBezTo>
                      <a:cubicBezTo>
                        <a:pt x="377" y="25"/>
                        <a:pt x="377" y="24"/>
                        <a:pt x="377" y="21"/>
                      </a:cubicBezTo>
                      <a:cubicBezTo>
                        <a:pt x="378" y="19"/>
                        <a:pt x="376" y="17"/>
                        <a:pt x="373" y="18"/>
                      </a:cubicBezTo>
                      <a:cubicBezTo>
                        <a:pt x="371" y="18"/>
                        <a:pt x="372" y="22"/>
                        <a:pt x="371" y="20"/>
                      </a:cubicBezTo>
                      <a:cubicBezTo>
                        <a:pt x="369" y="19"/>
                        <a:pt x="371" y="17"/>
                        <a:pt x="369" y="18"/>
                      </a:cubicBezTo>
                      <a:cubicBezTo>
                        <a:pt x="368" y="18"/>
                        <a:pt x="367" y="18"/>
                        <a:pt x="365" y="19"/>
                      </a:cubicBezTo>
                      <a:cubicBezTo>
                        <a:pt x="364" y="20"/>
                        <a:pt x="364" y="18"/>
                        <a:pt x="364" y="16"/>
                      </a:cubicBezTo>
                      <a:cubicBezTo>
                        <a:pt x="364" y="14"/>
                        <a:pt x="363" y="12"/>
                        <a:pt x="361" y="13"/>
                      </a:cubicBezTo>
                      <a:cubicBezTo>
                        <a:pt x="360" y="13"/>
                        <a:pt x="358" y="11"/>
                        <a:pt x="357" y="12"/>
                      </a:cubicBezTo>
                      <a:cubicBezTo>
                        <a:pt x="356" y="13"/>
                        <a:pt x="354" y="15"/>
                        <a:pt x="353" y="17"/>
                      </a:cubicBezTo>
                      <a:cubicBezTo>
                        <a:pt x="352" y="19"/>
                        <a:pt x="351" y="21"/>
                        <a:pt x="352" y="23"/>
                      </a:cubicBezTo>
                      <a:cubicBezTo>
                        <a:pt x="352" y="25"/>
                        <a:pt x="351" y="26"/>
                        <a:pt x="351" y="27"/>
                      </a:cubicBezTo>
                      <a:cubicBezTo>
                        <a:pt x="350" y="28"/>
                        <a:pt x="350" y="28"/>
                        <a:pt x="349" y="32"/>
                      </a:cubicBezTo>
                      <a:cubicBezTo>
                        <a:pt x="348" y="35"/>
                        <a:pt x="347" y="36"/>
                        <a:pt x="348" y="31"/>
                      </a:cubicBezTo>
                      <a:cubicBezTo>
                        <a:pt x="348" y="27"/>
                        <a:pt x="349" y="25"/>
                        <a:pt x="348" y="26"/>
                      </a:cubicBezTo>
                      <a:cubicBezTo>
                        <a:pt x="346" y="27"/>
                        <a:pt x="347" y="28"/>
                        <a:pt x="345" y="28"/>
                      </a:cubicBezTo>
                      <a:cubicBezTo>
                        <a:pt x="343" y="27"/>
                        <a:pt x="340" y="29"/>
                        <a:pt x="341" y="27"/>
                      </a:cubicBezTo>
                      <a:cubicBezTo>
                        <a:pt x="343" y="24"/>
                        <a:pt x="347" y="24"/>
                        <a:pt x="348" y="21"/>
                      </a:cubicBezTo>
                      <a:cubicBezTo>
                        <a:pt x="349" y="19"/>
                        <a:pt x="348" y="17"/>
                        <a:pt x="346" y="19"/>
                      </a:cubicBezTo>
                      <a:cubicBezTo>
                        <a:pt x="344" y="20"/>
                        <a:pt x="346" y="17"/>
                        <a:pt x="345" y="16"/>
                      </a:cubicBezTo>
                      <a:cubicBezTo>
                        <a:pt x="345" y="15"/>
                        <a:pt x="342" y="15"/>
                        <a:pt x="342" y="14"/>
                      </a:cubicBezTo>
                      <a:cubicBezTo>
                        <a:pt x="343" y="12"/>
                        <a:pt x="348" y="14"/>
                        <a:pt x="350" y="12"/>
                      </a:cubicBezTo>
                      <a:cubicBezTo>
                        <a:pt x="351" y="10"/>
                        <a:pt x="351" y="8"/>
                        <a:pt x="350" y="7"/>
                      </a:cubicBezTo>
                      <a:cubicBezTo>
                        <a:pt x="349" y="6"/>
                        <a:pt x="346" y="9"/>
                        <a:pt x="345" y="7"/>
                      </a:cubicBezTo>
                      <a:cubicBezTo>
                        <a:pt x="344" y="6"/>
                        <a:pt x="346" y="4"/>
                        <a:pt x="345" y="3"/>
                      </a:cubicBezTo>
                      <a:cubicBezTo>
                        <a:pt x="344" y="2"/>
                        <a:pt x="342" y="3"/>
                        <a:pt x="341" y="5"/>
                      </a:cubicBezTo>
                      <a:cubicBezTo>
                        <a:pt x="340" y="7"/>
                        <a:pt x="338" y="4"/>
                        <a:pt x="336" y="4"/>
                      </a:cubicBezTo>
                      <a:cubicBezTo>
                        <a:pt x="335" y="3"/>
                        <a:pt x="335" y="6"/>
                        <a:pt x="333" y="7"/>
                      </a:cubicBezTo>
                      <a:cubicBezTo>
                        <a:pt x="332" y="9"/>
                        <a:pt x="329" y="10"/>
                        <a:pt x="330" y="10"/>
                      </a:cubicBezTo>
                      <a:cubicBezTo>
                        <a:pt x="331" y="11"/>
                        <a:pt x="335" y="11"/>
                        <a:pt x="335" y="13"/>
                      </a:cubicBezTo>
                      <a:cubicBezTo>
                        <a:pt x="335" y="14"/>
                        <a:pt x="334" y="16"/>
                        <a:pt x="332" y="16"/>
                      </a:cubicBezTo>
                      <a:cubicBezTo>
                        <a:pt x="331" y="17"/>
                        <a:pt x="330" y="16"/>
                        <a:pt x="331" y="19"/>
                      </a:cubicBezTo>
                      <a:cubicBezTo>
                        <a:pt x="332" y="22"/>
                        <a:pt x="332" y="23"/>
                        <a:pt x="331" y="22"/>
                      </a:cubicBezTo>
                      <a:cubicBezTo>
                        <a:pt x="330" y="21"/>
                        <a:pt x="329" y="21"/>
                        <a:pt x="329" y="23"/>
                      </a:cubicBezTo>
                      <a:cubicBezTo>
                        <a:pt x="329" y="25"/>
                        <a:pt x="330" y="26"/>
                        <a:pt x="328" y="26"/>
                      </a:cubicBezTo>
                      <a:cubicBezTo>
                        <a:pt x="327" y="26"/>
                        <a:pt x="327" y="24"/>
                        <a:pt x="325" y="27"/>
                      </a:cubicBezTo>
                      <a:cubicBezTo>
                        <a:pt x="324" y="30"/>
                        <a:pt x="323" y="32"/>
                        <a:pt x="323" y="30"/>
                      </a:cubicBezTo>
                      <a:cubicBezTo>
                        <a:pt x="322" y="28"/>
                        <a:pt x="324" y="23"/>
                        <a:pt x="322" y="21"/>
                      </a:cubicBezTo>
                      <a:cubicBezTo>
                        <a:pt x="321" y="20"/>
                        <a:pt x="321" y="18"/>
                        <a:pt x="322" y="17"/>
                      </a:cubicBezTo>
                      <a:cubicBezTo>
                        <a:pt x="323" y="16"/>
                        <a:pt x="324" y="15"/>
                        <a:pt x="323" y="12"/>
                      </a:cubicBezTo>
                      <a:cubicBezTo>
                        <a:pt x="322" y="9"/>
                        <a:pt x="323" y="7"/>
                        <a:pt x="321" y="7"/>
                      </a:cubicBezTo>
                      <a:cubicBezTo>
                        <a:pt x="320" y="8"/>
                        <a:pt x="317" y="13"/>
                        <a:pt x="316" y="15"/>
                      </a:cubicBezTo>
                      <a:cubicBezTo>
                        <a:pt x="314" y="18"/>
                        <a:pt x="312" y="21"/>
                        <a:pt x="311" y="23"/>
                      </a:cubicBezTo>
                      <a:cubicBezTo>
                        <a:pt x="310" y="26"/>
                        <a:pt x="307" y="28"/>
                        <a:pt x="306" y="29"/>
                      </a:cubicBezTo>
                      <a:cubicBezTo>
                        <a:pt x="306" y="31"/>
                        <a:pt x="306" y="31"/>
                        <a:pt x="306" y="33"/>
                      </a:cubicBezTo>
                      <a:cubicBezTo>
                        <a:pt x="306" y="35"/>
                        <a:pt x="305" y="35"/>
                        <a:pt x="304" y="37"/>
                      </a:cubicBezTo>
                      <a:cubicBezTo>
                        <a:pt x="303" y="40"/>
                        <a:pt x="303" y="41"/>
                        <a:pt x="302" y="39"/>
                      </a:cubicBezTo>
                      <a:cubicBezTo>
                        <a:pt x="301" y="37"/>
                        <a:pt x="302" y="39"/>
                        <a:pt x="300" y="38"/>
                      </a:cubicBezTo>
                      <a:cubicBezTo>
                        <a:pt x="299" y="38"/>
                        <a:pt x="299" y="36"/>
                        <a:pt x="300" y="34"/>
                      </a:cubicBezTo>
                      <a:cubicBezTo>
                        <a:pt x="301" y="32"/>
                        <a:pt x="302" y="32"/>
                        <a:pt x="302" y="29"/>
                      </a:cubicBezTo>
                      <a:cubicBezTo>
                        <a:pt x="302" y="26"/>
                        <a:pt x="300" y="26"/>
                        <a:pt x="301" y="24"/>
                      </a:cubicBezTo>
                      <a:cubicBezTo>
                        <a:pt x="301" y="23"/>
                        <a:pt x="305" y="17"/>
                        <a:pt x="307" y="16"/>
                      </a:cubicBezTo>
                      <a:cubicBezTo>
                        <a:pt x="310" y="15"/>
                        <a:pt x="311" y="11"/>
                        <a:pt x="310" y="11"/>
                      </a:cubicBezTo>
                      <a:cubicBezTo>
                        <a:pt x="309" y="12"/>
                        <a:pt x="307" y="11"/>
                        <a:pt x="307" y="10"/>
                      </a:cubicBezTo>
                      <a:cubicBezTo>
                        <a:pt x="308" y="9"/>
                        <a:pt x="309" y="9"/>
                        <a:pt x="311" y="8"/>
                      </a:cubicBezTo>
                      <a:cubicBezTo>
                        <a:pt x="313" y="7"/>
                        <a:pt x="313" y="4"/>
                        <a:pt x="312" y="2"/>
                      </a:cubicBezTo>
                      <a:cubicBezTo>
                        <a:pt x="310" y="0"/>
                        <a:pt x="308" y="1"/>
                        <a:pt x="306" y="1"/>
                      </a:cubicBezTo>
                      <a:cubicBezTo>
                        <a:pt x="304" y="1"/>
                        <a:pt x="303" y="3"/>
                        <a:pt x="303" y="5"/>
                      </a:cubicBezTo>
                      <a:cubicBezTo>
                        <a:pt x="304" y="6"/>
                        <a:pt x="307" y="9"/>
                        <a:pt x="306" y="9"/>
                      </a:cubicBezTo>
                      <a:cubicBezTo>
                        <a:pt x="304" y="9"/>
                        <a:pt x="302" y="8"/>
                        <a:pt x="303" y="10"/>
                      </a:cubicBezTo>
                      <a:cubicBezTo>
                        <a:pt x="303" y="12"/>
                        <a:pt x="302" y="14"/>
                        <a:pt x="301" y="14"/>
                      </a:cubicBezTo>
                      <a:cubicBezTo>
                        <a:pt x="300" y="14"/>
                        <a:pt x="300" y="9"/>
                        <a:pt x="298" y="8"/>
                      </a:cubicBezTo>
                      <a:cubicBezTo>
                        <a:pt x="296" y="8"/>
                        <a:pt x="296" y="11"/>
                        <a:pt x="295" y="10"/>
                      </a:cubicBezTo>
                      <a:cubicBezTo>
                        <a:pt x="294" y="9"/>
                        <a:pt x="292" y="4"/>
                        <a:pt x="291" y="3"/>
                      </a:cubicBezTo>
                      <a:cubicBezTo>
                        <a:pt x="290" y="3"/>
                        <a:pt x="291" y="7"/>
                        <a:pt x="291" y="10"/>
                      </a:cubicBezTo>
                      <a:cubicBezTo>
                        <a:pt x="291" y="13"/>
                        <a:pt x="292" y="14"/>
                        <a:pt x="291" y="13"/>
                      </a:cubicBezTo>
                      <a:cubicBezTo>
                        <a:pt x="289" y="12"/>
                        <a:pt x="289" y="9"/>
                        <a:pt x="288" y="11"/>
                      </a:cubicBezTo>
                      <a:cubicBezTo>
                        <a:pt x="287" y="12"/>
                        <a:pt x="285" y="14"/>
                        <a:pt x="287" y="15"/>
                      </a:cubicBezTo>
                      <a:cubicBezTo>
                        <a:pt x="288" y="16"/>
                        <a:pt x="291" y="15"/>
                        <a:pt x="291" y="17"/>
                      </a:cubicBezTo>
                      <a:cubicBezTo>
                        <a:pt x="292" y="19"/>
                        <a:pt x="290" y="19"/>
                        <a:pt x="289" y="19"/>
                      </a:cubicBezTo>
                      <a:cubicBezTo>
                        <a:pt x="287" y="20"/>
                        <a:pt x="286" y="22"/>
                        <a:pt x="287" y="24"/>
                      </a:cubicBezTo>
                      <a:cubicBezTo>
                        <a:pt x="287" y="25"/>
                        <a:pt x="285" y="25"/>
                        <a:pt x="284" y="24"/>
                      </a:cubicBezTo>
                      <a:cubicBezTo>
                        <a:pt x="283" y="24"/>
                        <a:pt x="280" y="24"/>
                        <a:pt x="279" y="28"/>
                      </a:cubicBezTo>
                      <a:cubicBezTo>
                        <a:pt x="277" y="32"/>
                        <a:pt x="276" y="34"/>
                        <a:pt x="275" y="35"/>
                      </a:cubicBezTo>
                      <a:cubicBezTo>
                        <a:pt x="273" y="37"/>
                        <a:pt x="273" y="41"/>
                        <a:pt x="274" y="42"/>
                      </a:cubicBezTo>
                      <a:cubicBezTo>
                        <a:pt x="275" y="44"/>
                        <a:pt x="277" y="43"/>
                        <a:pt x="276" y="44"/>
                      </a:cubicBezTo>
                      <a:cubicBezTo>
                        <a:pt x="276" y="46"/>
                        <a:pt x="273" y="48"/>
                        <a:pt x="272" y="46"/>
                      </a:cubicBezTo>
                      <a:cubicBezTo>
                        <a:pt x="271" y="45"/>
                        <a:pt x="269" y="40"/>
                        <a:pt x="269" y="39"/>
                      </a:cubicBezTo>
                      <a:cubicBezTo>
                        <a:pt x="268" y="38"/>
                        <a:pt x="266" y="37"/>
                        <a:pt x="267" y="35"/>
                      </a:cubicBezTo>
                      <a:cubicBezTo>
                        <a:pt x="268" y="34"/>
                        <a:pt x="267" y="30"/>
                        <a:pt x="265" y="31"/>
                      </a:cubicBezTo>
                      <a:cubicBezTo>
                        <a:pt x="264" y="32"/>
                        <a:pt x="263" y="32"/>
                        <a:pt x="262" y="30"/>
                      </a:cubicBezTo>
                      <a:cubicBezTo>
                        <a:pt x="262" y="28"/>
                        <a:pt x="259" y="29"/>
                        <a:pt x="260" y="31"/>
                      </a:cubicBezTo>
                      <a:cubicBezTo>
                        <a:pt x="260" y="33"/>
                        <a:pt x="260" y="34"/>
                        <a:pt x="259" y="34"/>
                      </a:cubicBezTo>
                      <a:cubicBezTo>
                        <a:pt x="258" y="34"/>
                        <a:pt x="257" y="34"/>
                        <a:pt x="256" y="34"/>
                      </a:cubicBezTo>
                      <a:cubicBezTo>
                        <a:pt x="255" y="34"/>
                        <a:pt x="254" y="32"/>
                        <a:pt x="253" y="32"/>
                      </a:cubicBezTo>
                      <a:cubicBezTo>
                        <a:pt x="252" y="31"/>
                        <a:pt x="251" y="33"/>
                        <a:pt x="251" y="35"/>
                      </a:cubicBezTo>
                      <a:cubicBezTo>
                        <a:pt x="250" y="37"/>
                        <a:pt x="249" y="36"/>
                        <a:pt x="249" y="34"/>
                      </a:cubicBezTo>
                      <a:cubicBezTo>
                        <a:pt x="248" y="33"/>
                        <a:pt x="247" y="31"/>
                        <a:pt x="246" y="33"/>
                      </a:cubicBezTo>
                      <a:cubicBezTo>
                        <a:pt x="245" y="34"/>
                        <a:pt x="246" y="37"/>
                        <a:pt x="245" y="36"/>
                      </a:cubicBezTo>
                      <a:cubicBezTo>
                        <a:pt x="244" y="35"/>
                        <a:pt x="242" y="34"/>
                        <a:pt x="242" y="36"/>
                      </a:cubicBezTo>
                      <a:cubicBezTo>
                        <a:pt x="241" y="38"/>
                        <a:pt x="245" y="39"/>
                        <a:pt x="246" y="40"/>
                      </a:cubicBezTo>
                      <a:cubicBezTo>
                        <a:pt x="246" y="40"/>
                        <a:pt x="248" y="39"/>
                        <a:pt x="248" y="42"/>
                      </a:cubicBezTo>
                      <a:cubicBezTo>
                        <a:pt x="249" y="44"/>
                        <a:pt x="249" y="45"/>
                        <a:pt x="250" y="43"/>
                      </a:cubicBezTo>
                      <a:cubicBezTo>
                        <a:pt x="251" y="41"/>
                        <a:pt x="251" y="41"/>
                        <a:pt x="253" y="41"/>
                      </a:cubicBezTo>
                      <a:cubicBezTo>
                        <a:pt x="255" y="42"/>
                        <a:pt x="253" y="46"/>
                        <a:pt x="254" y="46"/>
                      </a:cubicBezTo>
                      <a:cubicBezTo>
                        <a:pt x="256" y="46"/>
                        <a:pt x="256" y="47"/>
                        <a:pt x="255" y="49"/>
                      </a:cubicBezTo>
                      <a:cubicBezTo>
                        <a:pt x="254" y="50"/>
                        <a:pt x="255" y="51"/>
                        <a:pt x="256" y="53"/>
                      </a:cubicBezTo>
                      <a:cubicBezTo>
                        <a:pt x="257" y="55"/>
                        <a:pt x="256" y="55"/>
                        <a:pt x="255" y="53"/>
                      </a:cubicBezTo>
                      <a:cubicBezTo>
                        <a:pt x="253" y="51"/>
                        <a:pt x="252" y="49"/>
                        <a:pt x="251" y="48"/>
                      </a:cubicBezTo>
                      <a:cubicBezTo>
                        <a:pt x="249" y="47"/>
                        <a:pt x="248" y="47"/>
                        <a:pt x="247" y="45"/>
                      </a:cubicBezTo>
                      <a:cubicBezTo>
                        <a:pt x="246" y="43"/>
                        <a:pt x="246" y="43"/>
                        <a:pt x="244" y="44"/>
                      </a:cubicBezTo>
                      <a:cubicBezTo>
                        <a:pt x="243" y="44"/>
                        <a:pt x="244" y="50"/>
                        <a:pt x="243" y="50"/>
                      </a:cubicBezTo>
                      <a:cubicBezTo>
                        <a:pt x="242" y="50"/>
                        <a:pt x="241" y="49"/>
                        <a:pt x="240" y="51"/>
                      </a:cubicBezTo>
                      <a:cubicBezTo>
                        <a:pt x="240" y="53"/>
                        <a:pt x="239" y="51"/>
                        <a:pt x="239" y="50"/>
                      </a:cubicBezTo>
                      <a:cubicBezTo>
                        <a:pt x="238" y="49"/>
                        <a:pt x="239" y="47"/>
                        <a:pt x="240" y="46"/>
                      </a:cubicBezTo>
                      <a:cubicBezTo>
                        <a:pt x="240" y="44"/>
                        <a:pt x="239" y="44"/>
                        <a:pt x="238" y="44"/>
                      </a:cubicBezTo>
                      <a:cubicBezTo>
                        <a:pt x="237" y="44"/>
                        <a:pt x="235" y="40"/>
                        <a:pt x="235" y="43"/>
                      </a:cubicBezTo>
                      <a:cubicBezTo>
                        <a:pt x="236" y="45"/>
                        <a:pt x="237" y="47"/>
                        <a:pt x="236" y="48"/>
                      </a:cubicBezTo>
                      <a:cubicBezTo>
                        <a:pt x="236" y="49"/>
                        <a:pt x="235" y="51"/>
                        <a:pt x="235" y="52"/>
                      </a:cubicBezTo>
                      <a:cubicBezTo>
                        <a:pt x="234" y="53"/>
                        <a:pt x="233" y="56"/>
                        <a:pt x="233" y="58"/>
                      </a:cubicBezTo>
                      <a:cubicBezTo>
                        <a:pt x="234" y="60"/>
                        <a:pt x="236" y="61"/>
                        <a:pt x="237" y="63"/>
                      </a:cubicBezTo>
                      <a:cubicBezTo>
                        <a:pt x="238" y="65"/>
                        <a:pt x="237" y="63"/>
                        <a:pt x="235" y="62"/>
                      </a:cubicBezTo>
                      <a:cubicBezTo>
                        <a:pt x="234" y="60"/>
                        <a:pt x="233" y="59"/>
                        <a:pt x="232" y="60"/>
                      </a:cubicBezTo>
                      <a:cubicBezTo>
                        <a:pt x="231" y="61"/>
                        <a:pt x="230" y="63"/>
                        <a:pt x="230" y="65"/>
                      </a:cubicBezTo>
                      <a:cubicBezTo>
                        <a:pt x="230" y="67"/>
                        <a:pt x="229" y="67"/>
                        <a:pt x="228" y="69"/>
                      </a:cubicBezTo>
                      <a:cubicBezTo>
                        <a:pt x="226" y="70"/>
                        <a:pt x="225" y="74"/>
                        <a:pt x="225" y="72"/>
                      </a:cubicBezTo>
                      <a:cubicBezTo>
                        <a:pt x="226" y="70"/>
                        <a:pt x="227" y="68"/>
                        <a:pt x="229" y="65"/>
                      </a:cubicBezTo>
                      <a:cubicBezTo>
                        <a:pt x="230" y="63"/>
                        <a:pt x="230" y="61"/>
                        <a:pt x="229" y="59"/>
                      </a:cubicBezTo>
                      <a:cubicBezTo>
                        <a:pt x="229" y="57"/>
                        <a:pt x="229" y="55"/>
                        <a:pt x="230" y="52"/>
                      </a:cubicBezTo>
                      <a:cubicBezTo>
                        <a:pt x="231" y="49"/>
                        <a:pt x="230" y="46"/>
                        <a:pt x="229" y="45"/>
                      </a:cubicBezTo>
                      <a:cubicBezTo>
                        <a:pt x="228" y="44"/>
                        <a:pt x="228" y="46"/>
                        <a:pt x="228" y="48"/>
                      </a:cubicBezTo>
                      <a:cubicBezTo>
                        <a:pt x="227" y="50"/>
                        <a:pt x="226" y="49"/>
                        <a:pt x="225" y="49"/>
                      </a:cubicBezTo>
                      <a:cubicBezTo>
                        <a:pt x="224" y="50"/>
                        <a:pt x="222" y="52"/>
                        <a:pt x="222" y="55"/>
                      </a:cubicBezTo>
                      <a:cubicBezTo>
                        <a:pt x="222" y="57"/>
                        <a:pt x="222" y="57"/>
                        <a:pt x="223" y="58"/>
                      </a:cubicBezTo>
                      <a:cubicBezTo>
                        <a:pt x="224" y="59"/>
                        <a:pt x="226" y="60"/>
                        <a:pt x="225" y="60"/>
                      </a:cubicBezTo>
                      <a:cubicBezTo>
                        <a:pt x="224" y="61"/>
                        <a:pt x="223" y="59"/>
                        <a:pt x="222" y="59"/>
                      </a:cubicBezTo>
                      <a:cubicBezTo>
                        <a:pt x="221" y="59"/>
                        <a:pt x="221" y="60"/>
                        <a:pt x="220" y="63"/>
                      </a:cubicBezTo>
                      <a:cubicBezTo>
                        <a:pt x="220" y="65"/>
                        <a:pt x="218" y="67"/>
                        <a:pt x="219" y="66"/>
                      </a:cubicBezTo>
                      <a:cubicBezTo>
                        <a:pt x="219" y="65"/>
                        <a:pt x="221" y="62"/>
                        <a:pt x="220" y="59"/>
                      </a:cubicBezTo>
                      <a:cubicBezTo>
                        <a:pt x="220" y="56"/>
                        <a:pt x="220" y="53"/>
                        <a:pt x="219" y="52"/>
                      </a:cubicBezTo>
                      <a:cubicBezTo>
                        <a:pt x="219" y="50"/>
                        <a:pt x="220" y="49"/>
                        <a:pt x="221" y="47"/>
                      </a:cubicBezTo>
                      <a:cubicBezTo>
                        <a:pt x="222" y="46"/>
                        <a:pt x="221" y="43"/>
                        <a:pt x="220" y="43"/>
                      </a:cubicBezTo>
                      <a:cubicBezTo>
                        <a:pt x="219" y="43"/>
                        <a:pt x="217" y="46"/>
                        <a:pt x="217" y="48"/>
                      </a:cubicBezTo>
                      <a:cubicBezTo>
                        <a:pt x="217" y="50"/>
                        <a:pt x="219" y="50"/>
                        <a:pt x="218" y="51"/>
                      </a:cubicBezTo>
                      <a:cubicBezTo>
                        <a:pt x="217" y="52"/>
                        <a:pt x="216" y="52"/>
                        <a:pt x="215" y="52"/>
                      </a:cubicBezTo>
                      <a:cubicBezTo>
                        <a:pt x="213" y="53"/>
                        <a:pt x="212" y="53"/>
                        <a:pt x="214" y="50"/>
                      </a:cubicBezTo>
                      <a:cubicBezTo>
                        <a:pt x="216" y="48"/>
                        <a:pt x="217" y="44"/>
                        <a:pt x="216" y="44"/>
                      </a:cubicBezTo>
                      <a:cubicBezTo>
                        <a:pt x="215" y="43"/>
                        <a:pt x="214" y="44"/>
                        <a:pt x="213" y="43"/>
                      </a:cubicBezTo>
                      <a:cubicBezTo>
                        <a:pt x="212" y="41"/>
                        <a:pt x="212" y="40"/>
                        <a:pt x="210" y="41"/>
                      </a:cubicBezTo>
                      <a:cubicBezTo>
                        <a:pt x="209" y="42"/>
                        <a:pt x="208" y="43"/>
                        <a:pt x="207" y="44"/>
                      </a:cubicBezTo>
                      <a:cubicBezTo>
                        <a:pt x="206" y="45"/>
                        <a:pt x="205" y="46"/>
                        <a:pt x="206" y="48"/>
                      </a:cubicBezTo>
                      <a:cubicBezTo>
                        <a:pt x="207" y="50"/>
                        <a:pt x="209" y="51"/>
                        <a:pt x="210" y="52"/>
                      </a:cubicBezTo>
                      <a:cubicBezTo>
                        <a:pt x="211" y="53"/>
                        <a:pt x="212" y="51"/>
                        <a:pt x="212" y="52"/>
                      </a:cubicBezTo>
                      <a:cubicBezTo>
                        <a:pt x="211" y="54"/>
                        <a:pt x="211" y="56"/>
                        <a:pt x="210" y="57"/>
                      </a:cubicBezTo>
                      <a:cubicBezTo>
                        <a:pt x="209" y="59"/>
                        <a:pt x="209" y="61"/>
                        <a:pt x="209" y="61"/>
                      </a:cubicBezTo>
                      <a:cubicBezTo>
                        <a:pt x="210" y="61"/>
                        <a:pt x="214" y="61"/>
                        <a:pt x="213" y="62"/>
                      </a:cubicBezTo>
                      <a:cubicBezTo>
                        <a:pt x="211" y="63"/>
                        <a:pt x="209" y="65"/>
                        <a:pt x="210" y="66"/>
                      </a:cubicBezTo>
                      <a:cubicBezTo>
                        <a:pt x="210" y="67"/>
                        <a:pt x="211" y="67"/>
                        <a:pt x="213" y="68"/>
                      </a:cubicBezTo>
                      <a:cubicBezTo>
                        <a:pt x="215" y="68"/>
                        <a:pt x="216" y="68"/>
                        <a:pt x="217" y="70"/>
                      </a:cubicBezTo>
                      <a:cubicBezTo>
                        <a:pt x="217" y="72"/>
                        <a:pt x="217" y="73"/>
                        <a:pt x="216" y="73"/>
                      </a:cubicBezTo>
                      <a:cubicBezTo>
                        <a:pt x="216" y="74"/>
                        <a:pt x="216" y="72"/>
                        <a:pt x="215" y="71"/>
                      </a:cubicBezTo>
                      <a:cubicBezTo>
                        <a:pt x="214" y="69"/>
                        <a:pt x="213" y="70"/>
                        <a:pt x="212" y="69"/>
                      </a:cubicBezTo>
                      <a:cubicBezTo>
                        <a:pt x="211" y="69"/>
                        <a:pt x="210" y="68"/>
                        <a:pt x="208" y="66"/>
                      </a:cubicBezTo>
                      <a:cubicBezTo>
                        <a:pt x="207" y="63"/>
                        <a:pt x="208" y="62"/>
                        <a:pt x="206" y="61"/>
                      </a:cubicBezTo>
                      <a:cubicBezTo>
                        <a:pt x="204" y="61"/>
                        <a:pt x="201" y="62"/>
                        <a:pt x="202" y="65"/>
                      </a:cubicBezTo>
                      <a:cubicBezTo>
                        <a:pt x="203" y="67"/>
                        <a:pt x="207" y="69"/>
                        <a:pt x="208" y="70"/>
                      </a:cubicBezTo>
                      <a:cubicBezTo>
                        <a:pt x="210" y="70"/>
                        <a:pt x="211" y="71"/>
                        <a:pt x="210" y="71"/>
                      </a:cubicBezTo>
                      <a:cubicBezTo>
                        <a:pt x="209" y="72"/>
                        <a:pt x="206" y="70"/>
                        <a:pt x="204" y="69"/>
                      </a:cubicBezTo>
                      <a:cubicBezTo>
                        <a:pt x="202" y="67"/>
                        <a:pt x="203" y="68"/>
                        <a:pt x="203" y="70"/>
                      </a:cubicBezTo>
                      <a:cubicBezTo>
                        <a:pt x="203" y="72"/>
                        <a:pt x="203" y="76"/>
                        <a:pt x="203" y="74"/>
                      </a:cubicBezTo>
                      <a:cubicBezTo>
                        <a:pt x="202" y="71"/>
                        <a:pt x="202" y="69"/>
                        <a:pt x="201" y="67"/>
                      </a:cubicBezTo>
                      <a:cubicBezTo>
                        <a:pt x="199" y="64"/>
                        <a:pt x="199" y="63"/>
                        <a:pt x="197" y="65"/>
                      </a:cubicBezTo>
                      <a:cubicBezTo>
                        <a:pt x="196" y="66"/>
                        <a:pt x="196" y="70"/>
                        <a:pt x="195" y="72"/>
                      </a:cubicBezTo>
                      <a:cubicBezTo>
                        <a:pt x="195" y="74"/>
                        <a:pt x="198" y="76"/>
                        <a:pt x="196" y="77"/>
                      </a:cubicBezTo>
                      <a:cubicBezTo>
                        <a:pt x="195" y="78"/>
                        <a:pt x="193" y="77"/>
                        <a:pt x="192" y="77"/>
                      </a:cubicBezTo>
                      <a:cubicBezTo>
                        <a:pt x="190" y="78"/>
                        <a:pt x="190" y="79"/>
                        <a:pt x="189" y="80"/>
                      </a:cubicBezTo>
                      <a:cubicBezTo>
                        <a:pt x="188" y="81"/>
                        <a:pt x="188" y="85"/>
                        <a:pt x="189" y="86"/>
                      </a:cubicBezTo>
                      <a:cubicBezTo>
                        <a:pt x="190" y="88"/>
                        <a:pt x="191" y="87"/>
                        <a:pt x="191" y="89"/>
                      </a:cubicBezTo>
                      <a:cubicBezTo>
                        <a:pt x="190" y="91"/>
                        <a:pt x="190" y="91"/>
                        <a:pt x="188" y="90"/>
                      </a:cubicBezTo>
                      <a:cubicBezTo>
                        <a:pt x="187" y="89"/>
                        <a:pt x="186" y="85"/>
                        <a:pt x="184" y="85"/>
                      </a:cubicBezTo>
                      <a:cubicBezTo>
                        <a:pt x="183" y="85"/>
                        <a:pt x="182" y="86"/>
                        <a:pt x="183" y="88"/>
                      </a:cubicBezTo>
                      <a:cubicBezTo>
                        <a:pt x="185" y="90"/>
                        <a:pt x="191" y="96"/>
                        <a:pt x="189" y="95"/>
                      </a:cubicBezTo>
                      <a:cubicBezTo>
                        <a:pt x="187" y="94"/>
                        <a:pt x="186" y="94"/>
                        <a:pt x="184" y="94"/>
                      </a:cubicBezTo>
                      <a:cubicBezTo>
                        <a:pt x="183" y="94"/>
                        <a:pt x="182" y="95"/>
                        <a:pt x="182" y="93"/>
                      </a:cubicBezTo>
                      <a:cubicBezTo>
                        <a:pt x="182" y="92"/>
                        <a:pt x="183" y="90"/>
                        <a:pt x="182" y="89"/>
                      </a:cubicBezTo>
                      <a:cubicBezTo>
                        <a:pt x="181" y="88"/>
                        <a:pt x="179" y="88"/>
                        <a:pt x="179" y="90"/>
                      </a:cubicBezTo>
                      <a:cubicBezTo>
                        <a:pt x="179" y="93"/>
                        <a:pt x="180" y="94"/>
                        <a:pt x="178" y="95"/>
                      </a:cubicBezTo>
                      <a:cubicBezTo>
                        <a:pt x="177" y="96"/>
                        <a:pt x="176" y="96"/>
                        <a:pt x="176" y="98"/>
                      </a:cubicBezTo>
                      <a:cubicBezTo>
                        <a:pt x="175" y="99"/>
                        <a:pt x="175" y="101"/>
                        <a:pt x="175" y="102"/>
                      </a:cubicBezTo>
                      <a:cubicBezTo>
                        <a:pt x="175" y="103"/>
                        <a:pt x="178" y="105"/>
                        <a:pt x="179" y="105"/>
                      </a:cubicBezTo>
                      <a:cubicBezTo>
                        <a:pt x="181" y="105"/>
                        <a:pt x="184" y="105"/>
                        <a:pt x="185" y="105"/>
                      </a:cubicBezTo>
                      <a:cubicBezTo>
                        <a:pt x="187" y="104"/>
                        <a:pt x="187" y="101"/>
                        <a:pt x="189" y="102"/>
                      </a:cubicBezTo>
                      <a:cubicBezTo>
                        <a:pt x="191" y="103"/>
                        <a:pt x="196" y="104"/>
                        <a:pt x="195" y="106"/>
                      </a:cubicBezTo>
                      <a:cubicBezTo>
                        <a:pt x="194" y="107"/>
                        <a:pt x="190" y="104"/>
                        <a:pt x="188" y="106"/>
                      </a:cubicBezTo>
                      <a:cubicBezTo>
                        <a:pt x="187" y="109"/>
                        <a:pt x="187" y="109"/>
                        <a:pt x="187" y="110"/>
                      </a:cubicBezTo>
                      <a:cubicBezTo>
                        <a:pt x="188" y="112"/>
                        <a:pt x="186" y="112"/>
                        <a:pt x="186" y="111"/>
                      </a:cubicBezTo>
                      <a:cubicBezTo>
                        <a:pt x="185" y="110"/>
                        <a:pt x="184" y="108"/>
                        <a:pt x="181" y="107"/>
                      </a:cubicBezTo>
                      <a:cubicBezTo>
                        <a:pt x="179" y="107"/>
                        <a:pt x="176" y="106"/>
                        <a:pt x="174" y="106"/>
                      </a:cubicBezTo>
                      <a:cubicBezTo>
                        <a:pt x="173" y="106"/>
                        <a:pt x="171" y="108"/>
                        <a:pt x="172" y="109"/>
                      </a:cubicBezTo>
                      <a:cubicBezTo>
                        <a:pt x="174" y="110"/>
                        <a:pt x="179" y="116"/>
                        <a:pt x="178" y="116"/>
                      </a:cubicBezTo>
                      <a:cubicBezTo>
                        <a:pt x="177" y="115"/>
                        <a:pt x="175" y="113"/>
                        <a:pt x="173" y="112"/>
                      </a:cubicBezTo>
                      <a:cubicBezTo>
                        <a:pt x="171" y="111"/>
                        <a:pt x="169" y="112"/>
                        <a:pt x="170" y="114"/>
                      </a:cubicBezTo>
                      <a:cubicBezTo>
                        <a:pt x="170" y="115"/>
                        <a:pt x="172" y="118"/>
                        <a:pt x="174" y="119"/>
                      </a:cubicBezTo>
                      <a:cubicBezTo>
                        <a:pt x="175" y="119"/>
                        <a:pt x="174" y="122"/>
                        <a:pt x="173" y="124"/>
                      </a:cubicBezTo>
                      <a:cubicBezTo>
                        <a:pt x="173" y="126"/>
                        <a:pt x="173" y="129"/>
                        <a:pt x="172" y="127"/>
                      </a:cubicBezTo>
                      <a:cubicBezTo>
                        <a:pt x="171" y="125"/>
                        <a:pt x="169" y="122"/>
                        <a:pt x="169" y="119"/>
                      </a:cubicBezTo>
                      <a:cubicBezTo>
                        <a:pt x="168" y="117"/>
                        <a:pt x="167" y="112"/>
                        <a:pt x="166" y="112"/>
                      </a:cubicBezTo>
                      <a:cubicBezTo>
                        <a:pt x="165" y="112"/>
                        <a:pt x="164" y="116"/>
                        <a:pt x="164" y="118"/>
                      </a:cubicBezTo>
                      <a:cubicBezTo>
                        <a:pt x="164" y="120"/>
                        <a:pt x="167" y="121"/>
                        <a:pt x="166" y="123"/>
                      </a:cubicBezTo>
                      <a:cubicBezTo>
                        <a:pt x="166" y="125"/>
                        <a:pt x="165" y="125"/>
                        <a:pt x="163" y="125"/>
                      </a:cubicBezTo>
                      <a:cubicBezTo>
                        <a:pt x="162" y="124"/>
                        <a:pt x="160" y="124"/>
                        <a:pt x="159" y="125"/>
                      </a:cubicBezTo>
                      <a:cubicBezTo>
                        <a:pt x="158" y="126"/>
                        <a:pt x="157" y="126"/>
                        <a:pt x="155" y="126"/>
                      </a:cubicBezTo>
                      <a:cubicBezTo>
                        <a:pt x="153" y="126"/>
                        <a:pt x="154" y="123"/>
                        <a:pt x="152" y="123"/>
                      </a:cubicBezTo>
                      <a:cubicBezTo>
                        <a:pt x="150" y="123"/>
                        <a:pt x="150" y="126"/>
                        <a:pt x="151" y="127"/>
                      </a:cubicBezTo>
                      <a:cubicBezTo>
                        <a:pt x="151" y="129"/>
                        <a:pt x="151" y="130"/>
                        <a:pt x="150" y="132"/>
                      </a:cubicBezTo>
                      <a:cubicBezTo>
                        <a:pt x="149" y="134"/>
                        <a:pt x="150" y="137"/>
                        <a:pt x="151" y="135"/>
                      </a:cubicBezTo>
                      <a:cubicBezTo>
                        <a:pt x="152" y="134"/>
                        <a:pt x="154" y="136"/>
                        <a:pt x="155" y="133"/>
                      </a:cubicBezTo>
                      <a:cubicBezTo>
                        <a:pt x="156" y="131"/>
                        <a:pt x="157" y="130"/>
                        <a:pt x="159" y="130"/>
                      </a:cubicBezTo>
                      <a:cubicBezTo>
                        <a:pt x="161" y="130"/>
                        <a:pt x="164" y="132"/>
                        <a:pt x="165" y="133"/>
                      </a:cubicBezTo>
                      <a:cubicBezTo>
                        <a:pt x="166" y="134"/>
                        <a:pt x="166" y="136"/>
                        <a:pt x="165" y="135"/>
                      </a:cubicBezTo>
                      <a:cubicBezTo>
                        <a:pt x="163" y="134"/>
                        <a:pt x="162" y="132"/>
                        <a:pt x="161" y="133"/>
                      </a:cubicBezTo>
                      <a:cubicBezTo>
                        <a:pt x="159" y="134"/>
                        <a:pt x="156" y="133"/>
                        <a:pt x="157" y="136"/>
                      </a:cubicBezTo>
                      <a:cubicBezTo>
                        <a:pt x="157" y="139"/>
                        <a:pt x="158" y="141"/>
                        <a:pt x="160" y="141"/>
                      </a:cubicBezTo>
                      <a:cubicBezTo>
                        <a:pt x="161" y="140"/>
                        <a:pt x="162" y="140"/>
                        <a:pt x="164" y="139"/>
                      </a:cubicBezTo>
                      <a:cubicBezTo>
                        <a:pt x="165" y="138"/>
                        <a:pt x="166" y="139"/>
                        <a:pt x="166" y="139"/>
                      </a:cubicBezTo>
                      <a:cubicBezTo>
                        <a:pt x="165" y="140"/>
                        <a:pt x="163" y="141"/>
                        <a:pt x="162" y="142"/>
                      </a:cubicBezTo>
                      <a:cubicBezTo>
                        <a:pt x="162" y="142"/>
                        <a:pt x="162" y="143"/>
                        <a:pt x="162" y="145"/>
                      </a:cubicBezTo>
                      <a:cubicBezTo>
                        <a:pt x="163" y="147"/>
                        <a:pt x="164" y="149"/>
                        <a:pt x="163" y="148"/>
                      </a:cubicBezTo>
                      <a:cubicBezTo>
                        <a:pt x="162" y="147"/>
                        <a:pt x="160" y="145"/>
                        <a:pt x="158" y="144"/>
                      </a:cubicBezTo>
                      <a:cubicBezTo>
                        <a:pt x="157" y="143"/>
                        <a:pt x="155" y="143"/>
                        <a:pt x="155" y="142"/>
                      </a:cubicBezTo>
                      <a:cubicBezTo>
                        <a:pt x="154" y="142"/>
                        <a:pt x="154" y="139"/>
                        <a:pt x="152" y="139"/>
                      </a:cubicBezTo>
                      <a:cubicBezTo>
                        <a:pt x="151" y="139"/>
                        <a:pt x="148" y="141"/>
                        <a:pt x="148" y="142"/>
                      </a:cubicBezTo>
                      <a:cubicBezTo>
                        <a:pt x="148" y="144"/>
                        <a:pt x="150" y="145"/>
                        <a:pt x="149" y="145"/>
                      </a:cubicBezTo>
                      <a:cubicBezTo>
                        <a:pt x="147" y="146"/>
                        <a:pt x="146" y="148"/>
                        <a:pt x="145" y="150"/>
                      </a:cubicBezTo>
                      <a:cubicBezTo>
                        <a:pt x="145" y="151"/>
                        <a:pt x="146" y="151"/>
                        <a:pt x="148" y="151"/>
                      </a:cubicBezTo>
                      <a:cubicBezTo>
                        <a:pt x="150" y="151"/>
                        <a:pt x="152" y="151"/>
                        <a:pt x="153" y="150"/>
                      </a:cubicBezTo>
                      <a:cubicBezTo>
                        <a:pt x="155" y="149"/>
                        <a:pt x="156" y="151"/>
                        <a:pt x="157" y="151"/>
                      </a:cubicBezTo>
                      <a:cubicBezTo>
                        <a:pt x="158" y="152"/>
                        <a:pt x="159" y="151"/>
                        <a:pt x="161" y="152"/>
                      </a:cubicBezTo>
                      <a:cubicBezTo>
                        <a:pt x="163" y="152"/>
                        <a:pt x="163" y="154"/>
                        <a:pt x="162" y="154"/>
                      </a:cubicBezTo>
                      <a:cubicBezTo>
                        <a:pt x="161" y="154"/>
                        <a:pt x="161" y="156"/>
                        <a:pt x="160" y="157"/>
                      </a:cubicBezTo>
                      <a:cubicBezTo>
                        <a:pt x="159" y="157"/>
                        <a:pt x="158" y="155"/>
                        <a:pt x="157" y="154"/>
                      </a:cubicBezTo>
                      <a:cubicBezTo>
                        <a:pt x="156" y="153"/>
                        <a:pt x="154" y="153"/>
                        <a:pt x="150" y="153"/>
                      </a:cubicBezTo>
                      <a:cubicBezTo>
                        <a:pt x="147" y="153"/>
                        <a:pt x="144" y="152"/>
                        <a:pt x="143" y="155"/>
                      </a:cubicBezTo>
                      <a:cubicBezTo>
                        <a:pt x="143" y="157"/>
                        <a:pt x="144" y="157"/>
                        <a:pt x="145" y="158"/>
                      </a:cubicBezTo>
                      <a:cubicBezTo>
                        <a:pt x="147" y="160"/>
                        <a:pt x="148" y="161"/>
                        <a:pt x="147" y="161"/>
                      </a:cubicBezTo>
                      <a:cubicBezTo>
                        <a:pt x="146" y="161"/>
                        <a:pt x="145" y="158"/>
                        <a:pt x="143" y="159"/>
                      </a:cubicBezTo>
                      <a:cubicBezTo>
                        <a:pt x="142" y="159"/>
                        <a:pt x="141" y="162"/>
                        <a:pt x="140" y="162"/>
                      </a:cubicBezTo>
                      <a:cubicBezTo>
                        <a:pt x="139" y="162"/>
                        <a:pt x="137" y="161"/>
                        <a:pt x="135" y="162"/>
                      </a:cubicBezTo>
                      <a:cubicBezTo>
                        <a:pt x="133" y="163"/>
                        <a:pt x="131" y="163"/>
                        <a:pt x="132" y="165"/>
                      </a:cubicBezTo>
                      <a:cubicBezTo>
                        <a:pt x="133" y="167"/>
                        <a:pt x="138" y="168"/>
                        <a:pt x="137" y="169"/>
                      </a:cubicBezTo>
                      <a:cubicBezTo>
                        <a:pt x="137" y="171"/>
                        <a:pt x="134" y="169"/>
                        <a:pt x="133" y="170"/>
                      </a:cubicBezTo>
                      <a:cubicBezTo>
                        <a:pt x="132" y="170"/>
                        <a:pt x="131" y="168"/>
                        <a:pt x="130" y="168"/>
                      </a:cubicBezTo>
                      <a:cubicBezTo>
                        <a:pt x="129" y="169"/>
                        <a:pt x="130" y="171"/>
                        <a:pt x="129" y="172"/>
                      </a:cubicBezTo>
                      <a:cubicBezTo>
                        <a:pt x="128" y="173"/>
                        <a:pt x="127" y="174"/>
                        <a:pt x="127" y="176"/>
                      </a:cubicBezTo>
                      <a:cubicBezTo>
                        <a:pt x="127" y="178"/>
                        <a:pt x="129" y="179"/>
                        <a:pt x="130" y="179"/>
                      </a:cubicBezTo>
                      <a:cubicBezTo>
                        <a:pt x="131" y="179"/>
                        <a:pt x="132" y="178"/>
                        <a:pt x="134" y="178"/>
                      </a:cubicBezTo>
                      <a:cubicBezTo>
                        <a:pt x="135" y="178"/>
                        <a:pt x="133" y="179"/>
                        <a:pt x="131" y="180"/>
                      </a:cubicBezTo>
                      <a:cubicBezTo>
                        <a:pt x="130" y="181"/>
                        <a:pt x="130" y="185"/>
                        <a:pt x="129" y="183"/>
                      </a:cubicBezTo>
                      <a:cubicBezTo>
                        <a:pt x="128" y="181"/>
                        <a:pt x="125" y="179"/>
                        <a:pt x="124" y="180"/>
                      </a:cubicBezTo>
                      <a:cubicBezTo>
                        <a:pt x="123" y="180"/>
                        <a:pt x="125" y="183"/>
                        <a:pt x="125" y="184"/>
                      </a:cubicBezTo>
                      <a:cubicBezTo>
                        <a:pt x="126" y="185"/>
                        <a:pt x="124" y="191"/>
                        <a:pt x="124" y="190"/>
                      </a:cubicBezTo>
                      <a:cubicBezTo>
                        <a:pt x="125" y="189"/>
                        <a:pt x="128" y="187"/>
                        <a:pt x="129" y="188"/>
                      </a:cubicBezTo>
                      <a:cubicBezTo>
                        <a:pt x="131" y="189"/>
                        <a:pt x="132" y="191"/>
                        <a:pt x="134" y="191"/>
                      </a:cubicBezTo>
                      <a:cubicBezTo>
                        <a:pt x="135" y="190"/>
                        <a:pt x="139" y="188"/>
                        <a:pt x="141" y="188"/>
                      </a:cubicBezTo>
                      <a:cubicBezTo>
                        <a:pt x="142" y="187"/>
                        <a:pt x="143" y="188"/>
                        <a:pt x="140" y="190"/>
                      </a:cubicBezTo>
                      <a:cubicBezTo>
                        <a:pt x="137" y="191"/>
                        <a:pt x="136" y="192"/>
                        <a:pt x="135" y="194"/>
                      </a:cubicBezTo>
                      <a:cubicBezTo>
                        <a:pt x="134" y="195"/>
                        <a:pt x="133" y="196"/>
                        <a:pt x="132" y="194"/>
                      </a:cubicBezTo>
                      <a:cubicBezTo>
                        <a:pt x="131" y="192"/>
                        <a:pt x="131" y="191"/>
                        <a:pt x="129" y="191"/>
                      </a:cubicBezTo>
                      <a:cubicBezTo>
                        <a:pt x="127" y="191"/>
                        <a:pt x="126" y="195"/>
                        <a:pt x="125" y="195"/>
                      </a:cubicBezTo>
                      <a:cubicBezTo>
                        <a:pt x="124" y="194"/>
                        <a:pt x="123" y="190"/>
                        <a:pt x="122" y="192"/>
                      </a:cubicBezTo>
                      <a:cubicBezTo>
                        <a:pt x="122" y="194"/>
                        <a:pt x="121" y="195"/>
                        <a:pt x="122" y="197"/>
                      </a:cubicBezTo>
                      <a:cubicBezTo>
                        <a:pt x="123" y="199"/>
                        <a:pt x="126" y="201"/>
                        <a:pt x="127" y="203"/>
                      </a:cubicBezTo>
                      <a:cubicBezTo>
                        <a:pt x="128" y="205"/>
                        <a:pt x="128" y="209"/>
                        <a:pt x="127" y="207"/>
                      </a:cubicBezTo>
                      <a:cubicBezTo>
                        <a:pt x="127" y="205"/>
                        <a:pt x="124" y="203"/>
                        <a:pt x="124" y="202"/>
                      </a:cubicBezTo>
                      <a:cubicBezTo>
                        <a:pt x="123" y="201"/>
                        <a:pt x="122" y="201"/>
                        <a:pt x="121" y="202"/>
                      </a:cubicBezTo>
                      <a:cubicBezTo>
                        <a:pt x="120" y="203"/>
                        <a:pt x="119" y="205"/>
                        <a:pt x="119" y="206"/>
                      </a:cubicBezTo>
                      <a:cubicBezTo>
                        <a:pt x="119" y="208"/>
                        <a:pt x="119" y="210"/>
                        <a:pt x="119" y="211"/>
                      </a:cubicBezTo>
                      <a:cubicBezTo>
                        <a:pt x="120" y="212"/>
                        <a:pt x="121" y="215"/>
                        <a:pt x="120" y="214"/>
                      </a:cubicBezTo>
                      <a:cubicBezTo>
                        <a:pt x="120" y="213"/>
                        <a:pt x="119" y="212"/>
                        <a:pt x="118" y="212"/>
                      </a:cubicBezTo>
                      <a:cubicBezTo>
                        <a:pt x="116" y="211"/>
                        <a:pt x="115" y="214"/>
                        <a:pt x="115" y="215"/>
                      </a:cubicBezTo>
                      <a:cubicBezTo>
                        <a:pt x="116" y="216"/>
                        <a:pt x="117" y="217"/>
                        <a:pt x="118" y="217"/>
                      </a:cubicBezTo>
                      <a:cubicBezTo>
                        <a:pt x="120" y="218"/>
                        <a:pt x="119" y="221"/>
                        <a:pt x="120" y="221"/>
                      </a:cubicBezTo>
                      <a:cubicBezTo>
                        <a:pt x="121" y="221"/>
                        <a:pt x="122" y="221"/>
                        <a:pt x="122" y="222"/>
                      </a:cubicBezTo>
                      <a:cubicBezTo>
                        <a:pt x="122" y="223"/>
                        <a:pt x="121" y="222"/>
                        <a:pt x="119" y="223"/>
                      </a:cubicBezTo>
                      <a:cubicBezTo>
                        <a:pt x="118" y="223"/>
                        <a:pt x="117" y="225"/>
                        <a:pt x="117" y="222"/>
                      </a:cubicBezTo>
                      <a:cubicBezTo>
                        <a:pt x="116" y="218"/>
                        <a:pt x="116" y="218"/>
                        <a:pt x="115" y="218"/>
                      </a:cubicBezTo>
                      <a:cubicBezTo>
                        <a:pt x="113" y="218"/>
                        <a:pt x="114" y="220"/>
                        <a:pt x="113" y="222"/>
                      </a:cubicBezTo>
                      <a:cubicBezTo>
                        <a:pt x="113" y="223"/>
                        <a:pt x="112" y="225"/>
                        <a:pt x="113" y="227"/>
                      </a:cubicBezTo>
                      <a:cubicBezTo>
                        <a:pt x="113" y="230"/>
                        <a:pt x="114" y="230"/>
                        <a:pt x="115" y="228"/>
                      </a:cubicBezTo>
                      <a:cubicBezTo>
                        <a:pt x="116" y="225"/>
                        <a:pt x="117" y="226"/>
                        <a:pt x="117" y="229"/>
                      </a:cubicBezTo>
                      <a:cubicBezTo>
                        <a:pt x="117" y="232"/>
                        <a:pt x="117" y="234"/>
                        <a:pt x="118" y="233"/>
                      </a:cubicBezTo>
                      <a:cubicBezTo>
                        <a:pt x="119" y="233"/>
                        <a:pt x="121" y="232"/>
                        <a:pt x="123" y="229"/>
                      </a:cubicBezTo>
                      <a:cubicBezTo>
                        <a:pt x="124" y="227"/>
                        <a:pt x="125" y="227"/>
                        <a:pt x="124" y="229"/>
                      </a:cubicBezTo>
                      <a:cubicBezTo>
                        <a:pt x="123" y="230"/>
                        <a:pt x="120" y="234"/>
                        <a:pt x="118" y="235"/>
                      </a:cubicBezTo>
                      <a:cubicBezTo>
                        <a:pt x="116" y="236"/>
                        <a:pt x="115" y="237"/>
                        <a:pt x="115" y="236"/>
                      </a:cubicBezTo>
                      <a:cubicBezTo>
                        <a:pt x="115" y="234"/>
                        <a:pt x="115" y="232"/>
                        <a:pt x="114" y="232"/>
                      </a:cubicBezTo>
                      <a:cubicBezTo>
                        <a:pt x="112" y="232"/>
                        <a:pt x="112" y="232"/>
                        <a:pt x="112" y="234"/>
                      </a:cubicBezTo>
                      <a:cubicBezTo>
                        <a:pt x="112" y="236"/>
                        <a:pt x="110" y="235"/>
                        <a:pt x="109" y="236"/>
                      </a:cubicBezTo>
                      <a:cubicBezTo>
                        <a:pt x="108" y="237"/>
                        <a:pt x="106" y="240"/>
                        <a:pt x="105" y="241"/>
                      </a:cubicBezTo>
                      <a:cubicBezTo>
                        <a:pt x="104" y="242"/>
                        <a:pt x="103" y="240"/>
                        <a:pt x="102" y="242"/>
                      </a:cubicBezTo>
                      <a:cubicBezTo>
                        <a:pt x="100" y="243"/>
                        <a:pt x="99" y="244"/>
                        <a:pt x="99" y="243"/>
                      </a:cubicBezTo>
                      <a:cubicBezTo>
                        <a:pt x="98" y="241"/>
                        <a:pt x="96" y="241"/>
                        <a:pt x="95" y="241"/>
                      </a:cubicBezTo>
                      <a:cubicBezTo>
                        <a:pt x="93" y="242"/>
                        <a:pt x="91" y="244"/>
                        <a:pt x="92" y="244"/>
                      </a:cubicBezTo>
                      <a:cubicBezTo>
                        <a:pt x="94" y="244"/>
                        <a:pt x="96" y="243"/>
                        <a:pt x="97" y="244"/>
                      </a:cubicBezTo>
                      <a:cubicBezTo>
                        <a:pt x="98" y="245"/>
                        <a:pt x="98" y="249"/>
                        <a:pt x="99" y="248"/>
                      </a:cubicBezTo>
                      <a:cubicBezTo>
                        <a:pt x="100" y="248"/>
                        <a:pt x="101" y="250"/>
                        <a:pt x="102" y="248"/>
                      </a:cubicBezTo>
                      <a:cubicBezTo>
                        <a:pt x="104" y="245"/>
                        <a:pt x="106" y="246"/>
                        <a:pt x="108" y="244"/>
                      </a:cubicBezTo>
                      <a:cubicBezTo>
                        <a:pt x="109" y="242"/>
                        <a:pt x="111" y="240"/>
                        <a:pt x="112" y="239"/>
                      </a:cubicBezTo>
                      <a:cubicBezTo>
                        <a:pt x="114" y="238"/>
                        <a:pt x="113" y="240"/>
                        <a:pt x="112" y="241"/>
                      </a:cubicBezTo>
                      <a:cubicBezTo>
                        <a:pt x="111" y="242"/>
                        <a:pt x="113" y="241"/>
                        <a:pt x="115" y="242"/>
                      </a:cubicBezTo>
                      <a:cubicBezTo>
                        <a:pt x="117" y="243"/>
                        <a:pt x="118" y="243"/>
                        <a:pt x="118" y="243"/>
                      </a:cubicBezTo>
                      <a:cubicBezTo>
                        <a:pt x="117" y="243"/>
                        <a:pt x="113" y="241"/>
                        <a:pt x="111" y="243"/>
                      </a:cubicBezTo>
                      <a:cubicBezTo>
                        <a:pt x="109" y="245"/>
                        <a:pt x="106" y="246"/>
                        <a:pt x="107" y="247"/>
                      </a:cubicBezTo>
                      <a:cubicBezTo>
                        <a:pt x="108" y="248"/>
                        <a:pt x="110" y="248"/>
                        <a:pt x="108" y="249"/>
                      </a:cubicBezTo>
                      <a:cubicBezTo>
                        <a:pt x="106" y="249"/>
                        <a:pt x="104" y="249"/>
                        <a:pt x="103" y="250"/>
                      </a:cubicBezTo>
                      <a:cubicBezTo>
                        <a:pt x="102" y="252"/>
                        <a:pt x="103" y="254"/>
                        <a:pt x="105" y="254"/>
                      </a:cubicBezTo>
                      <a:cubicBezTo>
                        <a:pt x="106" y="255"/>
                        <a:pt x="103" y="255"/>
                        <a:pt x="104" y="258"/>
                      </a:cubicBezTo>
                      <a:cubicBezTo>
                        <a:pt x="105" y="260"/>
                        <a:pt x="105" y="259"/>
                        <a:pt x="104" y="261"/>
                      </a:cubicBezTo>
                      <a:cubicBezTo>
                        <a:pt x="103" y="262"/>
                        <a:pt x="100" y="267"/>
                        <a:pt x="100" y="265"/>
                      </a:cubicBezTo>
                      <a:cubicBezTo>
                        <a:pt x="100" y="262"/>
                        <a:pt x="101" y="259"/>
                        <a:pt x="100" y="259"/>
                      </a:cubicBezTo>
                      <a:cubicBezTo>
                        <a:pt x="98" y="258"/>
                        <a:pt x="97" y="259"/>
                        <a:pt x="97" y="257"/>
                      </a:cubicBezTo>
                      <a:cubicBezTo>
                        <a:pt x="96" y="254"/>
                        <a:pt x="96" y="255"/>
                        <a:pt x="95" y="257"/>
                      </a:cubicBezTo>
                      <a:cubicBezTo>
                        <a:pt x="93" y="258"/>
                        <a:pt x="93" y="256"/>
                        <a:pt x="92" y="259"/>
                      </a:cubicBezTo>
                      <a:cubicBezTo>
                        <a:pt x="91" y="262"/>
                        <a:pt x="90" y="263"/>
                        <a:pt x="89" y="262"/>
                      </a:cubicBezTo>
                      <a:cubicBezTo>
                        <a:pt x="89" y="262"/>
                        <a:pt x="87" y="264"/>
                        <a:pt x="86" y="267"/>
                      </a:cubicBezTo>
                      <a:cubicBezTo>
                        <a:pt x="86" y="270"/>
                        <a:pt x="84" y="269"/>
                        <a:pt x="84" y="272"/>
                      </a:cubicBezTo>
                      <a:cubicBezTo>
                        <a:pt x="83" y="275"/>
                        <a:pt x="82" y="273"/>
                        <a:pt x="81" y="276"/>
                      </a:cubicBezTo>
                      <a:cubicBezTo>
                        <a:pt x="80" y="278"/>
                        <a:pt x="80" y="279"/>
                        <a:pt x="81" y="280"/>
                      </a:cubicBezTo>
                      <a:cubicBezTo>
                        <a:pt x="82" y="280"/>
                        <a:pt x="85" y="281"/>
                        <a:pt x="84" y="281"/>
                      </a:cubicBezTo>
                      <a:cubicBezTo>
                        <a:pt x="83" y="282"/>
                        <a:pt x="81" y="281"/>
                        <a:pt x="80" y="282"/>
                      </a:cubicBezTo>
                      <a:cubicBezTo>
                        <a:pt x="79" y="282"/>
                        <a:pt x="74" y="284"/>
                        <a:pt x="75" y="287"/>
                      </a:cubicBezTo>
                      <a:cubicBezTo>
                        <a:pt x="75" y="290"/>
                        <a:pt x="77" y="290"/>
                        <a:pt x="78" y="289"/>
                      </a:cubicBezTo>
                      <a:cubicBezTo>
                        <a:pt x="80" y="288"/>
                        <a:pt x="84" y="286"/>
                        <a:pt x="82" y="288"/>
                      </a:cubicBezTo>
                      <a:cubicBezTo>
                        <a:pt x="80" y="289"/>
                        <a:pt x="78" y="291"/>
                        <a:pt x="79" y="293"/>
                      </a:cubicBezTo>
                      <a:cubicBezTo>
                        <a:pt x="80" y="295"/>
                        <a:pt x="81" y="299"/>
                        <a:pt x="82" y="298"/>
                      </a:cubicBezTo>
                      <a:cubicBezTo>
                        <a:pt x="84" y="298"/>
                        <a:pt x="88" y="294"/>
                        <a:pt x="90" y="293"/>
                      </a:cubicBezTo>
                      <a:cubicBezTo>
                        <a:pt x="93" y="291"/>
                        <a:pt x="95" y="289"/>
                        <a:pt x="96" y="287"/>
                      </a:cubicBezTo>
                      <a:cubicBezTo>
                        <a:pt x="97" y="284"/>
                        <a:pt x="97" y="283"/>
                        <a:pt x="95" y="283"/>
                      </a:cubicBezTo>
                      <a:cubicBezTo>
                        <a:pt x="93" y="284"/>
                        <a:pt x="91" y="286"/>
                        <a:pt x="93" y="284"/>
                      </a:cubicBezTo>
                      <a:cubicBezTo>
                        <a:pt x="94" y="282"/>
                        <a:pt x="98" y="279"/>
                        <a:pt x="99" y="277"/>
                      </a:cubicBezTo>
                      <a:cubicBezTo>
                        <a:pt x="100" y="275"/>
                        <a:pt x="102" y="272"/>
                        <a:pt x="102" y="274"/>
                      </a:cubicBezTo>
                      <a:cubicBezTo>
                        <a:pt x="101" y="276"/>
                        <a:pt x="102" y="278"/>
                        <a:pt x="103" y="278"/>
                      </a:cubicBezTo>
                      <a:cubicBezTo>
                        <a:pt x="105" y="278"/>
                        <a:pt x="105" y="279"/>
                        <a:pt x="105" y="279"/>
                      </a:cubicBezTo>
                      <a:cubicBezTo>
                        <a:pt x="104" y="279"/>
                        <a:pt x="101" y="278"/>
                        <a:pt x="100" y="281"/>
                      </a:cubicBezTo>
                      <a:cubicBezTo>
                        <a:pt x="99" y="283"/>
                        <a:pt x="100" y="284"/>
                        <a:pt x="101" y="285"/>
                      </a:cubicBezTo>
                      <a:cubicBezTo>
                        <a:pt x="103" y="286"/>
                        <a:pt x="101" y="288"/>
                        <a:pt x="100" y="288"/>
                      </a:cubicBezTo>
                      <a:cubicBezTo>
                        <a:pt x="98" y="289"/>
                        <a:pt x="96" y="291"/>
                        <a:pt x="95" y="293"/>
                      </a:cubicBezTo>
                      <a:cubicBezTo>
                        <a:pt x="93" y="295"/>
                        <a:pt x="91" y="295"/>
                        <a:pt x="94" y="296"/>
                      </a:cubicBezTo>
                      <a:cubicBezTo>
                        <a:pt x="96" y="296"/>
                        <a:pt x="95" y="300"/>
                        <a:pt x="94" y="300"/>
                      </a:cubicBezTo>
                      <a:cubicBezTo>
                        <a:pt x="93" y="300"/>
                        <a:pt x="89" y="301"/>
                        <a:pt x="88" y="301"/>
                      </a:cubicBezTo>
                      <a:cubicBezTo>
                        <a:pt x="87" y="300"/>
                        <a:pt x="86" y="298"/>
                        <a:pt x="85" y="300"/>
                      </a:cubicBezTo>
                      <a:cubicBezTo>
                        <a:pt x="83" y="302"/>
                        <a:pt x="84" y="302"/>
                        <a:pt x="84" y="304"/>
                      </a:cubicBezTo>
                      <a:cubicBezTo>
                        <a:pt x="84" y="305"/>
                        <a:pt x="81" y="304"/>
                        <a:pt x="80" y="304"/>
                      </a:cubicBezTo>
                      <a:cubicBezTo>
                        <a:pt x="79" y="304"/>
                        <a:pt x="80" y="303"/>
                        <a:pt x="80" y="301"/>
                      </a:cubicBezTo>
                      <a:cubicBezTo>
                        <a:pt x="81" y="299"/>
                        <a:pt x="79" y="298"/>
                        <a:pt x="79" y="296"/>
                      </a:cubicBezTo>
                      <a:cubicBezTo>
                        <a:pt x="78" y="295"/>
                        <a:pt x="78" y="293"/>
                        <a:pt x="76" y="294"/>
                      </a:cubicBezTo>
                      <a:cubicBezTo>
                        <a:pt x="75" y="295"/>
                        <a:pt x="73" y="295"/>
                        <a:pt x="72" y="296"/>
                      </a:cubicBezTo>
                      <a:cubicBezTo>
                        <a:pt x="70" y="296"/>
                        <a:pt x="68" y="299"/>
                        <a:pt x="69" y="300"/>
                      </a:cubicBezTo>
                      <a:cubicBezTo>
                        <a:pt x="71" y="301"/>
                        <a:pt x="70" y="302"/>
                        <a:pt x="70" y="303"/>
                      </a:cubicBezTo>
                      <a:cubicBezTo>
                        <a:pt x="69" y="304"/>
                        <a:pt x="67" y="308"/>
                        <a:pt x="67" y="305"/>
                      </a:cubicBezTo>
                      <a:cubicBezTo>
                        <a:pt x="68" y="303"/>
                        <a:pt x="68" y="300"/>
                        <a:pt x="67" y="300"/>
                      </a:cubicBezTo>
                      <a:cubicBezTo>
                        <a:pt x="65" y="300"/>
                        <a:pt x="65" y="300"/>
                        <a:pt x="64" y="300"/>
                      </a:cubicBezTo>
                      <a:cubicBezTo>
                        <a:pt x="63" y="301"/>
                        <a:pt x="62" y="303"/>
                        <a:pt x="61" y="304"/>
                      </a:cubicBezTo>
                      <a:cubicBezTo>
                        <a:pt x="60" y="305"/>
                        <a:pt x="59" y="307"/>
                        <a:pt x="60" y="308"/>
                      </a:cubicBezTo>
                      <a:cubicBezTo>
                        <a:pt x="61" y="309"/>
                        <a:pt x="63" y="308"/>
                        <a:pt x="64" y="308"/>
                      </a:cubicBezTo>
                      <a:cubicBezTo>
                        <a:pt x="65" y="309"/>
                        <a:pt x="67" y="310"/>
                        <a:pt x="64" y="310"/>
                      </a:cubicBezTo>
                      <a:cubicBezTo>
                        <a:pt x="62" y="310"/>
                        <a:pt x="61" y="311"/>
                        <a:pt x="60" y="311"/>
                      </a:cubicBezTo>
                      <a:cubicBezTo>
                        <a:pt x="58" y="310"/>
                        <a:pt x="58" y="309"/>
                        <a:pt x="58" y="307"/>
                      </a:cubicBezTo>
                      <a:cubicBezTo>
                        <a:pt x="57" y="306"/>
                        <a:pt x="57" y="305"/>
                        <a:pt x="55" y="306"/>
                      </a:cubicBezTo>
                      <a:cubicBezTo>
                        <a:pt x="54" y="307"/>
                        <a:pt x="54" y="310"/>
                        <a:pt x="55" y="311"/>
                      </a:cubicBezTo>
                      <a:cubicBezTo>
                        <a:pt x="56" y="311"/>
                        <a:pt x="58" y="310"/>
                        <a:pt x="57" y="311"/>
                      </a:cubicBezTo>
                      <a:cubicBezTo>
                        <a:pt x="57" y="312"/>
                        <a:pt x="54" y="311"/>
                        <a:pt x="54" y="312"/>
                      </a:cubicBezTo>
                      <a:cubicBezTo>
                        <a:pt x="53" y="312"/>
                        <a:pt x="53" y="313"/>
                        <a:pt x="55" y="315"/>
                      </a:cubicBezTo>
                      <a:cubicBezTo>
                        <a:pt x="56" y="316"/>
                        <a:pt x="56" y="315"/>
                        <a:pt x="58" y="316"/>
                      </a:cubicBezTo>
                      <a:cubicBezTo>
                        <a:pt x="59" y="316"/>
                        <a:pt x="61" y="315"/>
                        <a:pt x="60" y="317"/>
                      </a:cubicBezTo>
                      <a:cubicBezTo>
                        <a:pt x="59" y="319"/>
                        <a:pt x="58" y="319"/>
                        <a:pt x="59" y="320"/>
                      </a:cubicBezTo>
                      <a:cubicBezTo>
                        <a:pt x="59" y="321"/>
                        <a:pt x="60" y="322"/>
                        <a:pt x="58" y="322"/>
                      </a:cubicBezTo>
                      <a:cubicBezTo>
                        <a:pt x="57" y="323"/>
                        <a:pt x="58" y="324"/>
                        <a:pt x="56" y="321"/>
                      </a:cubicBezTo>
                      <a:cubicBezTo>
                        <a:pt x="54" y="318"/>
                        <a:pt x="54" y="317"/>
                        <a:pt x="53" y="316"/>
                      </a:cubicBezTo>
                      <a:cubicBezTo>
                        <a:pt x="52" y="314"/>
                        <a:pt x="53" y="313"/>
                        <a:pt x="51" y="313"/>
                      </a:cubicBezTo>
                      <a:cubicBezTo>
                        <a:pt x="50" y="313"/>
                        <a:pt x="49" y="312"/>
                        <a:pt x="50" y="314"/>
                      </a:cubicBezTo>
                      <a:cubicBezTo>
                        <a:pt x="51" y="317"/>
                        <a:pt x="51" y="318"/>
                        <a:pt x="52" y="320"/>
                      </a:cubicBezTo>
                      <a:cubicBezTo>
                        <a:pt x="54" y="323"/>
                        <a:pt x="56" y="323"/>
                        <a:pt x="57" y="325"/>
                      </a:cubicBezTo>
                      <a:cubicBezTo>
                        <a:pt x="59" y="327"/>
                        <a:pt x="60" y="330"/>
                        <a:pt x="58" y="329"/>
                      </a:cubicBezTo>
                      <a:cubicBezTo>
                        <a:pt x="57" y="329"/>
                        <a:pt x="57" y="326"/>
                        <a:pt x="55" y="325"/>
                      </a:cubicBezTo>
                      <a:cubicBezTo>
                        <a:pt x="53" y="324"/>
                        <a:pt x="51" y="319"/>
                        <a:pt x="50" y="318"/>
                      </a:cubicBezTo>
                      <a:cubicBezTo>
                        <a:pt x="49" y="318"/>
                        <a:pt x="47" y="318"/>
                        <a:pt x="47" y="318"/>
                      </a:cubicBezTo>
                      <a:cubicBezTo>
                        <a:pt x="46" y="318"/>
                        <a:pt x="43" y="320"/>
                        <a:pt x="42" y="320"/>
                      </a:cubicBezTo>
                      <a:cubicBezTo>
                        <a:pt x="40" y="319"/>
                        <a:pt x="40" y="318"/>
                        <a:pt x="39" y="317"/>
                      </a:cubicBezTo>
                      <a:cubicBezTo>
                        <a:pt x="38" y="316"/>
                        <a:pt x="35" y="317"/>
                        <a:pt x="34" y="317"/>
                      </a:cubicBezTo>
                      <a:cubicBezTo>
                        <a:pt x="33" y="318"/>
                        <a:pt x="33" y="320"/>
                        <a:pt x="34" y="321"/>
                      </a:cubicBezTo>
                      <a:cubicBezTo>
                        <a:pt x="35" y="322"/>
                        <a:pt x="37" y="324"/>
                        <a:pt x="36" y="324"/>
                      </a:cubicBezTo>
                      <a:cubicBezTo>
                        <a:pt x="35" y="324"/>
                        <a:pt x="34" y="324"/>
                        <a:pt x="33" y="322"/>
                      </a:cubicBezTo>
                      <a:cubicBezTo>
                        <a:pt x="32" y="320"/>
                        <a:pt x="31" y="321"/>
                        <a:pt x="32" y="323"/>
                      </a:cubicBezTo>
                      <a:cubicBezTo>
                        <a:pt x="34" y="325"/>
                        <a:pt x="35" y="328"/>
                        <a:pt x="36" y="328"/>
                      </a:cubicBezTo>
                      <a:cubicBezTo>
                        <a:pt x="38" y="328"/>
                        <a:pt x="39" y="328"/>
                        <a:pt x="41" y="327"/>
                      </a:cubicBezTo>
                      <a:cubicBezTo>
                        <a:pt x="42" y="326"/>
                        <a:pt x="45" y="324"/>
                        <a:pt x="44" y="325"/>
                      </a:cubicBezTo>
                      <a:cubicBezTo>
                        <a:pt x="42" y="327"/>
                        <a:pt x="41" y="329"/>
                        <a:pt x="43" y="329"/>
                      </a:cubicBezTo>
                      <a:cubicBezTo>
                        <a:pt x="44" y="328"/>
                        <a:pt x="46" y="326"/>
                        <a:pt x="48" y="326"/>
                      </a:cubicBezTo>
                      <a:cubicBezTo>
                        <a:pt x="50" y="326"/>
                        <a:pt x="54" y="327"/>
                        <a:pt x="53" y="328"/>
                      </a:cubicBezTo>
                      <a:cubicBezTo>
                        <a:pt x="52" y="329"/>
                        <a:pt x="51" y="326"/>
                        <a:pt x="48" y="327"/>
                      </a:cubicBezTo>
                      <a:cubicBezTo>
                        <a:pt x="46" y="328"/>
                        <a:pt x="42" y="330"/>
                        <a:pt x="42" y="332"/>
                      </a:cubicBezTo>
                      <a:cubicBezTo>
                        <a:pt x="43" y="334"/>
                        <a:pt x="44" y="334"/>
                        <a:pt x="45" y="333"/>
                      </a:cubicBezTo>
                      <a:cubicBezTo>
                        <a:pt x="46" y="332"/>
                        <a:pt x="44" y="337"/>
                        <a:pt x="42" y="336"/>
                      </a:cubicBezTo>
                      <a:cubicBezTo>
                        <a:pt x="40" y="334"/>
                        <a:pt x="40" y="332"/>
                        <a:pt x="38" y="332"/>
                      </a:cubicBezTo>
                      <a:cubicBezTo>
                        <a:pt x="36" y="332"/>
                        <a:pt x="35" y="332"/>
                        <a:pt x="34" y="331"/>
                      </a:cubicBezTo>
                      <a:cubicBezTo>
                        <a:pt x="33" y="330"/>
                        <a:pt x="32" y="327"/>
                        <a:pt x="30" y="326"/>
                      </a:cubicBezTo>
                      <a:cubicBezTo>
                        <a:pt x="29" y="326"/>
                        <a:pt x="30" y="328"/>
                        <a:pt x="31" y="329"/>
                      </a:cubicBezTo>
                      <a:cubicBezTo>
                        <a:pt x="32" y="330"/>
                        <a:pt x="28" y="331"/>
                        <a:pt x="27" y="331"/>
                      </a:cubicBezTo>
                      <a:cubicBezTo>
                        <a:pt x="26" y="331"/>
                        <a:pt x="25" y="330"/>
                        <a:pt x="24" y="331"/>
                      </a:cubicBezTo>
                      <a:cubicBezTo>
                        <a:pt x="22" y="331"/>
                        <a:pt x="24" y="335"/>
                        <a:pt x="25" y="335"/>
                      </a:cubicBezTo>
                      <a:cubicBezTo>
                        <a:pt x="26" y="335"/>
                        <a:pt x="29" y="337"/>
                        <a:pt x="31" y="338"/>
                      </a:cubicBezTo>
                      <a:cubicBezTo>
                        <a:pt x="33" y="339"/>
                        <a:pt x="34" y="342"/>
                        <a:pt x="35" y="343"/>
                      </a:cubicBezTo>
                      <a:cubicBezTo>
                        <a:pt x="36" y="344"/>
                        <a:pt x="38" y="343"/>
                        <a:pt x="39" y="344"/>
                      </a:cubicBezTo>
                      <a:cubicBezTo>
                        <a:pt x="40" y="345"/>
                        <a:pt x="39" y="346"/>
                        <a:pt x="37" y="346"/>
                      </a:cubicBezTo>
                      <a:cubicBezTo>
                        <a:pt x="36" y="345"/>
                        <a:pt x="36" y="346"/>
                        <a:pt x="37" y="348"/>
                      </a:cubicBezTo>
                      <a:cubicBezTo>
                        <a:pt x="37" y="349"/>
                        <a:pt x="37" y="352"/>
                        <a:pt x="35" y="352"/>
                      </a:cubicBezTo>
                      <a:cubicBezTo>
                        <a:pt x="34" y="352"/>
                        <a:pt x="34" y="351"/>
                        <a:pt x="34" y="348"/>
                      </a:cubicBezTo>
                      <a:cubicBezTo>
                        <a:pt x="35" y="345"/>
                        <a:pt x="34" y="342"/>
                        <a:pt x="31" y="340"/>
                      </a:cubicBezTo>
                      <a:cubicBezTo>
                        <a:pt x="29" y="338"/>
                        <a:pt x="28" y="339"/>
                        <a:pt x="27" y="339"/>
                      </a:cubicBezTo>
                      <a:cubicBezTo>
                        <a:pt x="26" y="339"/>
                        <a:pt x="26" y="340"/>
                        <a:pt x="26" y="342"/>
                      </a:cubicBezTo>
                      <a:cubicBezTo>
                        <a:pt x="27" y="344"/>
                        <a:pt x="28" y="350"/>
                        <a:pt x="27" y="348"/>
                      </a:cubicBezTo>
                      <a:cubicBezTo>
                        <a:pt x="26" y="346"/>
                        <a:pt x="26" y="344"/>
                        <a:pt x="25" y="342"/>
                      </a:cubicBezTo>
                      <a:cubicBezTo>
                        <a:pt x="23" y="340"/>
                        <a:pt x="22" y="341"/>
                        <a:pt x="21" y="341"/>
                      </a:cubicBezTo>
                      <a:cubicBezTo>
                        <a:pt x="20" y="342"/>
                        <a:pt x="18" y="344"/>
                        <a:pt x="19" y="347"/>
                      </a:cubicBezTo>
                      <a:cubicBezTo>
                        <a:pt x="20" y="349"/>
                        <a:pt x="24" y="351"/>
                        <a:pt x="23" y="352"/>
                      </a:cubicBezTo>
                      <a:cubicBezTo>
                        <a:pt x="22" y="353"/>
                        <a:pt x="21" y="352"/>
                        <a:pt x="19" y="351"/>
                      </a:cubicBezTo>
                      <a:cubicBezTo>
                        <a:pt x="18" y="350"/>
                        <a:pt x="19" y="349"/>
                        <a:pt x="17" y="348"/>
                      </a:cubicBezTo>
                      <a:cubicBezTo>
                        <a:pt x="16" y="346"/>
                        <a:pt x="16" y="347"/>
                        <a:pt x="15" y="349"/>
                      </a:cubicBezTo>
                      <a:cubicBezTo>
                        <a:pt x="15" y="351"/>
                        <a:pt x="14" y="352"/>
                        <a:pt x="14" y="351"/>
                      </a:cubicBezTo>
                      <a:cubicBezTo>
                        <a:pt x="13" y="349"/>
                        <a:pt x="12" y="348"/>
                        <a:pt x="14" y="347"/>
                      </a:cubicBezTo>
                      <a:cubicBezTo>
                        <a:pt x="15" y="346"/>
                        <a:pt x="15" y="343"/>
                        <a:pt x="14" y="342"/>
                      </a:cubicBezTo>
                      <a:cubicBezTo>
                        <a:pt x="12" y="342"/>
                        <a:pt x="10" y="343"/>
                        <a:pt x="11" y="345"/>
                      </a:cubicBezTo>
                      <a:cubicBezTo>
                        <a:pt x="12" y="347"/>
                        <a:pt x="12" y="349"/>
                        <a:pt x="11" y="348"/>
                      </a:cubicBezTo>
                      <a:cubicBezTo>
                        <a:pt x="10" y="347"/>
                        <a:pt x="10" y="350"/>
                        <a:pt x="10" y="351"/>
                      </a:cubicBezTo>
                      <a:cubicBezTo>
                        <a:pt x="11" y="352"/>
                        <a:pt x="11" y="354"/>
                        <a:pt x="10" y="355"/>
                      </a:cubicBezTo>
                      <a:cubicBezTo>
                        <a:pt x="10" y="355"/>
                        <a:pt x="9" y="354"/>
                        <a:pt x="8" y="355"/>
                      </a:cubicBezTo>
                      <a:cubicBezTo>
                        <a:pt x="7" y="356"/>
                        <a:pt x="8" y="358"/>
                        <a:pt x="9" y="358"/>
                      </a:cubicBezTo>
                      <a:cubicBezTo>
                        <a:pt x="10" y="358"/>
                        <a:pt x="13" y="358"/>
                        <a:pt x="14" y="358"/>
                      </a:cubicBezTo>
                      <a:cubicBezTo>
                        <a:pt x="16" y="359"/>
                        <a:pt x="18" y="360"/>
                        <a:pt x="20" y="360"/>
                      </a:cubicBezTo>
                      <a:cubicBezTo>
                        <a:pt x="22" y="360"/>
                        <a:pt x="24" y="361"/>
                        <a:pt x="26" y="360"/>
                      </a:cubicBezTo>
                      <a:cubicBezTo>
                        <a:pt x="28" y="360"/>
                        <a:pt x="32" y="359"/>
                        <a:pt x="31" y="360"/>
                      </a:cubicBezTo>
                      <a:cubicBezTo>
                        <a:pt x="30" y="361"/>
                        <a:pt x="27" y="361"/>
                        <a:pt x="25" y="362"/>
                      </a:cubicBezTo>
                      <a:cubicBezTo>
                        <a:pt x="22" y="362"/>
                        <a:pt x="21" y="362"/>
                        <a:pt x="21" y="363"/>
                      </a:cubicBezTo>
                      <a:cubicBezTo>
                        <a:pt x="21" y="364"/>
                        <a:pt x="21" y="364"/>
                        <a:pt x="20" y="362"/>
                      </a:cubicBezTo>
                      <a:cubicBezTo>
                        <a:pt x="19" y="360"/>
                        <a:pt x="18" y="361"/>
                        <a:pt x="18" y="363"/>
                      </a:cubicBezTo>
                      <a:cubicBezTo>
                        <a:pt x="18" y="364"/>
                        <a:pt x="17" y="367"/>
                        <a:pt x="17" y="364"/>
                      </a:cubicBezTo>
                      <a:cubicBezTo>
                        <a:pt x="17" y="361"/>
                        <a:pt x="18" y="362"/>
                        <a:pt x="16" y="360"/>
                      </a:cubicBezTo>
                      <a:cubicBezTo>
                        <a:pt x="14" y="358"/>
                        <a:pt x="15" y="359"/>
                        <a:pt x="12" y="359"/>
                      </a:cubicBezTo>
                      <a:cubicBezTo>
                        <a:pt x="10" y="359"/>
                        <a:pt x="8" y="360"/>
                        <a:pt x="7" y="360"/>
                      </a:cubicBezTo>
                      <a:cubicBezTo>
                        <a:pt x="6" y="359"/>
                        <a:pt x="6" y="358"/>
                        <a:pt x="6" y="356"/>
                      </a:cubicBezTo>
                      <a:cubicBezTo>
                        <a:pt x="5" y="355"/>
                        <a:pt x="3" y="353"/>
                        <a:pt x="3" y="355"/>
                      </a:cubicBezTo>
                      <a:cubicBezTo>
                        <a:pt x="4" y="357"/>
                        <a:pt x="5" y="357"/>
                        <a:pt x="5" y="358"/>
                      </a:cubicBezTo>
                      <a:cubicBezTo>
                        <a:pt x="6" y="360"/>
                        <a:pt x="4" y="360"/>
                        <a:pt x="3" y="360"/>
                      </a:cubicBezTo>
                      <a:cubicBezTo>
                        <a:pt x="3" y="359"/>
                        <a:pt x="0" y="359"/>
                        <a:pt x="1" y="361"/>
                      </a:cubicBezTo>
                      <a:cubicBezTo>
                        <a:pt x="2" y="363"/>
                        <a:pt x="3" y="362"/>
                        <a:pt x="4" y="362"/>
                      </a:cubicBezTo>
                      <a:cubicBezTo>
                        <a:pt x="5" y="362"/>
                        <a:pt x="5" y="363"/>
                        <a:pt x="5" y="364"/>
                      </a:cubicBezTo>
                      <a:cubicBezTo>
                        <a:pt x="4" y="365"/>
                        <a:pt x="3" y="366"/>
                        <a:pt x="3" y="369"/>
                      </a:cubicBezTo>
                      <a:cubicBezTo>
                        <a:pt x="3" y="371"/>
                        <a:pt x="5" y="371"/>
                        <a:pt x="6" y="370"/>
                      </a:cubicBezTo>
                      <a:cubicBezTo>
                        <a:pt x="7" y="369"/>
                        <a:pt x="8" y="369"/>
                        <a:pt x="9" y="371"/>
                      </a:cubicBezTo>
                      <a:cubicBezTo>
                        <a:pt x="9" y="373"/>
                        <a:pt x="9" y="375"/>
                        <a:pt x="10" y="375"/>
                      </a:cubicBezTo>
                      <a:cubicBezTo>
                        <a:pt x="11" y="375"/>
                        <a:pt x="15" y="373"/>
                        <a:pt x="15" y="374"/>
                      </a:cubicBezTo>
                      <a:cubicBezTo>
                        <a:pt x="14" y="376"/>
                        <a:pt x="12" y="378"/>
                        <a:pt x="11" y="376"/>
                      </a:cubicBezTo>
                      <a:cubicBezTo>
                        <a:pt x="10" y="374"/>
                        <a:pt x="7" y="375"/>
                        <a:pt x="6" y="376"/>
                      </a:cubicBezTo>
                      <a:cubicBezTo>
                        <a:pt x="5" y="376"/>
                        <a:pt x="4" y="378"/>
                        <a:pt x="4" y="379"/>
                      </a:cubicBezTo>
                      <a:cubicBezTo>
                        <a:pt x="5" y="381"/>
                        <a:pt x="6" y="384"/>
                        <a:pt x="6" y="386"/>
                      </a:cubicBezTo>
                      <a:cubicBezTo>
                        <a:pt x="7" y="387"/>
                        <a:pt x="9" y="390"/>
                        <a:pt x="10" y="389"/>
                      </a:cubicBezTo>
                      <a:cubicBezTo>
                        <a:pt x="11" y="389"/>
                        <a:pt x="15" y="388"/>
                        <a:pt x="17" y="387"/>
                      </a:cubicBezTo>
                      <a:cubicBezTo>
                        <a:pt x="19" y="386"/>
                        <a:pt x="21" y="387"/>
                        <a:pt x="23" y="387"/>
                      </a:cubicBezTo>
                      <a:cubicBezTo>
                        <a:pt x="26" y="388"/>
                        <a:pt x="27" y="388"/>
                        <a:pt x="28" y="385"/>
                      </a:cubicBezTo>
                      <a:cubicBezTo>
                        <a:pt x="29" y="383"/>
                        <a:pt x="29" y="382"/>
                        <a:pt x="30" y="381"/>
                      </a:cubicBezTo>
                      <a:cubicBezTo>
                        <a:pt x="30" y="380"/>
                        <a:pt x="31" y="379"/>
                        <a:pt x="31" y="381"/>
                      </a:cubicBezTo>
                      <a:cubicBezTo>
                        <a:pt x="30" y="382"/>
                        <a:pt x="28" y="386"/>
                        <a:pt x="30" y="386"/>
                      </a:cubicBezTo>
                      <a:cubicBezTo>
                        <a:pt x="32" y="386"/>
                        <a:pt x="36" y="386"/>
                        <a:pt x="37" y="385"/>
                      </a:cubicBezTo>
                      <a:cubicBezTo>
                        <a:pt x="38" y="384"/>
                        <a:pt x="39" y="383"/>
                        <a:pt x="38" y="384"/>
                      </a:cubicBezTo>
                      <a:cubicBezTo>
                        <a:pt x="38" y="385"/>
                        <a:pt x="37" y="387"/>
                        <a:pt x="38" y="386"/>
                      </a:cubicBezTo>
                      <a:cubicBezTo>
                        <a:pt x="39" y="386"/>
                        <a:pt x="41" y="387"/>
                        <a:pt x="41" y="385"/>
                      </a:cubicBezTo>
                      <a:cubicBezTo>
                        <a:pt x="41" y="383"/>
                        <a:pt x="41" y="381"/>
                        <a:pt x="42" y="379"/>
                      </a:cubicBezTo>
                      <a:cubicBezTo>
                        <a:pt x="43" y="377"/>
                        <a:pt x="44" y="376"/>
                        <a:pt x="44" y="375"/>
                      </a:cubicBezTo>
                      <a:cubicBezTo>
                        <a:pt x="44" y="374"/>
                        <a:pt x="46" y="375"/>
                        <a:pt x="45" y="375"/>
                      </a:cubicBezTo>
                      <a:cubicBezTo>
                        <a:pt x="44" y="375"/>
                        <a:pt x="42" y="379"/>
                        <a:pt x="42" y="381"/>
                      </a:cubicBezTo>
                      <a:cubicBezTo>
                        <a:pt x="42" y="383"/>
                        <a:pt x="42" y="385"/>
                        <a:pt x="43" y="385"/>
                      </a:cubicBezTo>
                      <a:cubicBezTo>
                        <a:pt x="44" y="386"/>
                        <a:pt x="47" y="384"/>
                        <a:pt x="46" y="385"/>
                      </a:cubicBezTo>
                      <a:cubicBezTo>
                        <a:pt x="45" y="386"/>
                        <a:pt x="42" y="388"/>
                        <a:pt x="41" y="387"/>
                      </a:cubicBezTo>
                      <a:cubicBezTo>
                        <a:pt x="40" y="387"/>
                        <a:pt x="38" y="388"/>
                        <a:pt x="38" y="390"/>
                      </a:cubicBezTo>
                      <a:cubicBezTo>
                        <a:pt x="37" y="392"/>
                        <a:pt x="40" y="395"/>
                        <a:pt x="38" y="395"/>
                      </a:cubicBezTo>
                      <a:cubicBezTo>
                        <a:pt x="37" y="395"/>
                        <a:pt x="36" y="395"/>
                        <a:pt x="35" y="395"/>
                      </a:cubicBezTo>
                      <a:cubicBezTo>
                        <a:pt x="34" y="396"/>
                        <a:pt x="35" y="394"/>
                        <a:pt x="35" y="392"/>
                      </a:cubicBezTo>
                      <a:cubicBezTo>
                        <a:pt x="35" y="391"/>
                        <a:pt x="34" y="389"/>
                        <a:pt x="33" y="388"/>
                      </a:cubicBezTo>
                      <a:cubicBezTo>
                        <a:pt x="32" y="387"/>
                        <a:pt x="30" y="387"/>
                        <a:pt x="29" y="388"/>
                      </a:cubicBezTo>
                      <a:cubicBezTo>
                        <a:pt x="28" y="389"/>
                        <a:pt x="27" y="389"/>
                        <a:pt x="25" y="389"/>
                      </a:cubicBezTo>
                      <a:cubicBezTo>
                        <a:pt x="24" y="389"/>
                        <a:pt x="21" y="387"/>
                        <a:pt x="19" y="388"/>
                      </a:cubicBezTo>
                      <a:cubicBezTo>
                        <a:pt x="18" y="388"/>
                        <a:pt x="14" y="390"/>
                        <a:pt x="12" y="391"/>
                      </a:cubicBezTo>
                      <a:cubicBezTo>
                        <a:pt x="10" y="392"/>
                        <a:pt x="9" y="391"/>
                        <a:pt x="8" y="391"/>
                      </a:cubicBezTo>
                      <a:cubicBezTo>
                        <a:pt x="6" y="390"/>
                        <a:pt x="4" y="390"/>
                        <a:pt x="4" y="392"/>
                      </a:cubicBezTo>
                      <a:cubicBezTo>
                        <a:pt x="5" y="394"/>
                        <a:pt x="6" y="394"/>
                        <a:pt x="6" y="395"/>
                      </a:cubicBezTo>
                      <a:cubicBezTo>
                        <a:pt x="6" y="396"/>
                        <a:pt x="6" y="398"/>
                        <a:pt x="5" y="397"/>
                      </a:cubicBezTo>
                      <a:cubicBezTo>
                        <a:pt x="4" y="396"/>
                        <a:pt x="4" y="395"/>
                        <a:pt x="3" y="396"/>
                      </a:cubicBezTo>
                      <a:cubicBezTo>
                        <a:pt x="3" y="397"/>
                        <a:pt x="4" y="398"/>
                        <a:pt x="4" y="399"/>
                      </a:cubicBezTo>
                      <a:cubicBezTo>
                        <a:pt x="5" y="400"/>
                        <a:pt x="6" y="400"/>
                        <a:pt x="7" y="399"/>
                      </a:cubicBezTo>
                      <a:cubicBezTo>
                        <a:pt x="8" y="399"/>
                        <a:pt x="9" y="397"/>
                        <a:pt x="10" y="397"/>
                      </a:cubicBezTo>
                      <a:cubicBezTo>
                        <a:pt x="11" y="397"/>
                        <a:pt x="10" y="399"/>
                        <a:pt x="10" y="400"/>
                      </a:cubicBezTo>
                      <a:cubicBezTo>
                        <a:pt x="9" y="401"/>
                        <a:pt x="10" y="402"/>
                        <a:pt x="10" y="404"/>
                      </a:cubicBezTo>
                      <a:cubicBezTo>
                        <a:pt x="10" y="405"/>
                        <a:pt x="9" y="405"/>
                        <a:pt x="8" y="404"/>
                      </a:cubicBezTo>
                      <a:cubicBezTo>
                        <a:pt x="7" y="402"/>
                        <a:pt x="6" y="402"/>
                        <a:pt x="5" y="401"/>
                      </a:cubicBezTo>
                      <a:cubicBezTo>
                        <a:pt x="4" y="401"/>
                        <a:pt x="4" y="403"/>
                        <a:pt x="5" y="405"/>
                      </a:cubicBezTo>
                      <a:cubicBezTo>
                        <a:pt x="6" y="406"/>
                        <a:pt x="7" y="406"/>
                        <a:pt x="7" y="407"/>
                      </a:cubicBezTo>
                      <a:cubicBezTo>
                        <a:pt x="7" y="408"/>
                        <a:pt x="8" y="410"/>
                        <a:pt x="9" y="409"/>
                      </a:cubicBezTo>
                      <a:cubicBezTo>
                        <a:pt x="10" y="409"/>
                        <a:pt x="8" y="412"/>
                        <a:pt x="8" y="414"/>
                      </a:cubicBezTo>
                      <a:cubicBezTo>
                        <a:pt x="7" y="417"/>
                        <a:pt x="8" y="419"/>
                        <a:pt x="9" y="421"/>
                      </a:cubicBezTo>
                      <a:cubicBezTo>
                        <a:pt x="10" y="423"/>
                        <a:pt x="10" y="425"/>
                        <a:pt x="11" y="423"/>
                      </a:cubicBezTo>
                      <a:cubicBezTo>
                        <a:pt x="12" y="422"/>
                        <a:pt x="13" y="421"/>
                        <a:pt x="14" y="422"/>
                      </a:cubicBezTo>
                      <a:cubicBezTo>
                        <a:pt x="15" y="422"/>
                        <a:pt x="16" y="421"/>
                        <a:pt x="15" y="423"/>
                      </a:cubicBezTo>
                      <a:cubicBezTo>
                        <a:pt x="15" y="425"/>
                        <a:pt x="17" y="427"/>
                        <a:pt x="16" y="428"/>
                      </a:cubicBezTo>
                      <a:cubicBezTo>
                        <a:pt x="16" y="430"/>
                        <a:pt x="17" y="429"/>
                        <a:pt x="18" y="428"/>
                      </a:cubicBezTo>
                      <a:cubicBezTo>
                        <a:pt x="19" y="427"/>
                        <a:pt x="20" y="425"/>
                        <a:pt x="21" y="423"/>
                      </a:cubicBezTo>
                      <a:cubicBezTo>
                        <a:pt x="21" y="420"/>
                        <a:pt x="24" y="419"/>
                        <a:pt x="25" y="417"/>
                      </a:cubicBezTo>
                      <a:cubicBezTo>
                        <a:pt x="26" y="414"/>
                        <a:pt x="30" y="414"/>
                        <a:pt x="31" y="413"/>
                      </a:cubicBezTo>
                      <a:cubicBezTo>
                        <a:pt x="33" y="412"/>
                        <a:pt x="38" y="410"/>
                        <a:pt x="38" y="411"/>
                      </a:cubicBezTo>
                      <a:cubicBezTo>
                        <a:pt x="38" y="412"/>
                        <a:pt x="36" y="413"/>
                        <a:pt x="34" y="413"/>
                      </a:cubicBezTo>
                      <a:cubicBezTo>
                        <a:pt x="33" y="414"/>
                        <a:pt x="32" y="415"/>
                        <a:pt x="32" y="418"/>
                      </a:cubicBezTo>
                      <a:cubicBezTo>
                        <a:pt x="31" y="420"/>
                        <a:pt x="31" y="426"/>
                        <a:pt x="30" y="424"/>
                      </a:cubicBezTo>
                      <a:cubicBezTo>
                        <a:pt x="30" y="421"/>
                        <a:pt x="30" y="421"/>
                        <a:pt x="30" y="418"/>
                      </a:cubicBezTo>
                      <a:cubicBezTo>
                        <a:pt x="31" y="416"/>
                        <a:pt x="30" y="415"/>
                        <a:pt x="29" y="416"/>
                      </a:cubicBezTo>
                      <a:cubicBezTo>
                        <a:pt x="27" y="417"/>
                        <a:pt x="24" y="420"/>
                        <a:pt x="24" y="422"/>
                      </a:cubicBezTo>
                      <a:cubicBezTo>
                        <a:pt x="23" y="423"/>
                        <a:pt x="24" y="425"/>
                        <a:pt x="24" y="426"/>
                      </a:cubicBezTo>
                      <a:cubicBezTo>
                        <a:pt x="25" y="426"/>
                        <a:pt x="24" y="427"/>
                        <a:pt x="22" y="428"/>
                      </a:cubicBezTo>
                      <a:cubicBezTo>
                        <a:pt x="21" y="429"/>
                        <a:pt x="21" y="429"/>
                        <a:pt x="19" y="432"/>
                      </a:cubicBezTo>
                      <a:cubicBezTo>
                        <a:pt x="17" y="435"/>
                        <a:pt x="15" y="435"/>
                        <a:pt x="17" y="437"/>
                      </a:cubicBezTo>
                      <a:cubicBezTo>
                        <a:pt x="18" y="440"/>
                        <a:pt x="19" y="439"/>
                        <a:pt x="20" y="439"/>
                      </a:cubicBezTo>
                      <a:cubicBezTo>
                        <a:pt x="22" y="438"/>
                        <a:pt x="23" y="437"/>
                        <a:pt x="24" y="436"/>
                      </a:cubicBezTo>
                      <a:cubicBezTo>
                        <a:pt x="26" y="435"/>
                        <a:pt x="25" y="437"/>
                        <a:pt x="23" y="438"/>
                      </a:cubicBezTo>
                      <a:cubicBezTo>
                        <a:pt x="20" y="440"/>
                        <a:pt x="20" y="439"/>
                        <a:pt x="19" y="441"/>
                      </a:cubicBezTo>
                      <a:cubicBezTo>
                        <a:pt x="19" y="442"/>
                        <a:pt x="19" y="442"/>
                        <a:pt x="18" y="442"/>
                      </a:cubicBezTo>
                      <a:cubicBezTo>
                        <a:pt x="17" y="442"/>
                        <a:pt x="15" y="442"/>
                        <a:pt x="15" y="443"/>
                      </a:cubicBezTo>
                      <a:cubicBezTo>
                        <a:pt x="14" y="444"/>
                        <a:pt x="14" y="446"/>
                        <a:pt x="15" y="449"/>
                      </a:cubicBezTo>
                      <a:cubicBezTo>
                        <a:pt x="15" y="451"/>
                        <a:pt x="15" y="455"/>
                        <a:pt x="16" y="454"/>
                      </a:cubicBezTo>
                      <a:cubicBezTo>
                        <a:pt x="17" y="452"/>
                        <a:pt x="19" y="452"/>
                        <a:pt x="20" y="450"/>
                      </a:cubicBezTo>
                      <a:cubicBezTo>
                        <a:pt x="21" y="449"/>
                        <a:pt x="22" y="447"/>
                        <a:pt x="23" y="449"/>
                      </a:cubicBezTo>
                      <a:cubicBezTo>
                        <a:pt x="23" y="450"/>
                        <a:pt x="24" y="450"/>
                        <a:pt x="25" y="448"/>
                      </a:cubicBezTo>
                      <a:cubicBezTo>
                        <a:pt x="26" y="447"/>
                        <a:pt x="27" y="444"/>
                        <a:pt x="27" y="445"/>
                      </a:cubicBezTo>
                      <a:cubicBezTo>
                        <a:pt x="27" y="446"/>
                        <a:pt x="27" y="446"/>
                        <a:pt x="29" y="446"/>
                      </a:cubicBezTo>
                      <a:cubicBezTo>
                        <a:pt x="30" y="446"/>
                        <a:pt x="31" y="446"/>
                        <a:pt x="29" y="446"/>
                      </a:cubicBezTo>
                      <a:cubicBezTo>
                        <a:pt x="28" y="446"/>
                        <a:pt x="27" y="446"/>
                        <a:pt x="26" y="447"/>
                      </a:cubicBezTo>
                      <a:cubicBezTo>
                        <a:pt x="26" y="449"/>
                        <a:pt x="25" y="449"/>
                        <a:pt x="24" y="451"/>
                      </a:cubicBezTo>
                      <a:cubicBezTo>
                        <a:pt x="23" y="453"/>
                        <a:pt x="22" y="455"/>
                        <a:pt x="24" y="455"/>
                      </a:cubicBezTo>
                      <a:cubicBezTo>
                        <a:pt x="25" y="455"/>
                        <a:pt x="26" y="454"/>
                        <a:pt x="28" y="454"/>
                      </a:cubicBezTo>
                      <a:cubicBezTo>
                        <a:pt x="30" y="453"/>
                        <a:pt x="31" y="455"/>
                        <a:pt x="30" y="454"/>
                      </a:cubicBezTo>
                      <a:cubicBezTo>
                        <a:pt x="29" y="454"/>
                        <a:pt x="25" y="455"/>
                        <a:pt x="24" y="457"/>
                      </a:cubicBezTo>
                      <a:cubicBezTo>
                        <a:pt x="23" y="459"/>
                        <a:pt x="23" y="460"/>
                        <a:pt x="23" y="460"/>
                      </a:cubicBezTo>
                      <a:cubicBezTo>
                        <a:pt x="24" y="461"/>
                        <a:pt x="23" y="462"/>
                        <a:pt x="22" y="461"/>
                      </a:cubicBezTo>
                      <a:cubicBezTo>
                        <a:pt x="21" y="461"/>
                        <a:pt x="20" y="461"/>
                        <a:pt x="21" y="463"/>
                      </a:cubicBezTo>
                      <a:cubicBezTo>
                        <a:pt x="22" y="465"/>
                        <a:pt x="22" y="467"/>
                        <a:pt x="24" y="467"/>
                      </a:cubicBezTo>
                      <a:cubicBezTo>
                        <a:pt x="25" y="467"/>
                        <a:pt x="25" y="466"/>
                        <a:pt x="27" y="465"/>
                      </a:cubicBezTo>
                      <a:cubicBezTo>
                        <a:pt x="29" y="464"/>
                        <a:pt x="31" y="464"/>
                        <a:pt x="32" y="464"/>
                      </a:cubicBezTo>
                      <a:cubicBezTo>
                        <a:pt x="32" y="463"/>
                        <a:pt x="30" y="465"/>
                        <a:pt x="28" y="465"/>
                      </a:cubicBezTo>
                      <a:cubicBezTo>
                        <a:pt x="26" y="465"/>
                        <a:pt x="26" y="467"/>
                        <a:pt x="25" y="468"/>
                      </a:cubicBezTo>
                      <a:cubicBezTo>
                        <a:pt x="24" y="468"/>
                        <a:pt x="26" y="470"/>
                        <a:pt x="25" y="470"/>
                      </a:cubicBezTo>
                      <a:cubicBezTo>
                        <a:pt x="24" y="471"/>
                        <a:pt x="22" y="469"/>
                        <a:pt x="21" y="467"/>
                      </a:cubicBezTo>
                      <a:cubicBezTo>
                        <a:pt x="20" y="466"/>
                        <a:pt x="18" y="468"/>
                        <a:pt x="17" y="466"/>
                      </a:cubicBezTo>
                      <a:cubicBezTo>
                        <a:pt x="16" y="465"/>
                        <a:pt x="15" y="465"/>
                        <a:pt x="15" y="465"/>
                      </a:cubicBezTo>
                      <a:cubicBezTo>
                        <a:pt x="14" y="466"/>
                        <a:pt x="16" y="466"/>
                        <a:pt x="16" y="468"/>
                      </a:cubicBezTo>
                      <a:cubicBezTo>
                        <a:pt x="15" y="469"/>
                        <a:pt x="14" y="472"/>
                        <a:pt x="14" y="474"/>
                      </a:cubicBezTo>
                      <a:cubicBezTo>
                        <a:pt x="14" y="476"/>
                        <a:pt x="15" y="479"/>
                        <a:pt x="16" y="480"/>
                      </a:cubicBezTo>
                      <a:cubicBezTo>
                        <a:pt x="17" y="482"/>
                        <a:pt x="21" y="485"/>
                        <a:pt x="22" y="487"/>
                      </a:cubicBezTo>
                      <a:cubicBezTo>
                        <a:pt x="24" y="489"/>
                        <a:pt x="27" y="490"/>
                        <a:pt x="29" y="491"/>
                      </a:cubicBezTo>
                      <a:cubicBezTo>
                        <a:pt x="31" y="492"/>
                        <a:pt x="33" y="493"/>
                        <a:pt x="34" y="492"/>
                      </a:cubicBezTo>
                      <a:cubicBezTo>
                        <a:pt x="35" y="491"/>
                        <a:pt x="38" y="490"/>
                        <a:pt x="36" y="491"/>
                      </a:cubicBezTo>
                      <a:cubicBezTo>
                        <a:pt x="35" y="492"/>
                        <a:pt x="33" y="493"/>
                        <a:pt x="33" y="494"/>
                      </a:cubicBezTo>
                      <a:cubicBezTo>
                        <a:pt x="33" y="496"/>
                        <a:pt x="32" y="497"/>
                        <a:pt x="34" y="497"/>
                      </a:cubicBezTo>
                      <a:cubicBezTo>
                        <a:pt x="36" y="498"/>
                        <a:pt x="39" y="499"/>
                        <a:pt x="40" y="499"/>
                      </a:cubicBezTo>
                      <a:cubicBezTo>
                        <a:pt x="41" y="498"/>
                        <a:pt x="44" y="498"/>
                        <a:pt x="46" y="500"/>
                      </a:cubicBezTo>
                      <a:cubicBezTo>
                        <a:pt x="47" y="501"/>
                        <a:pt x="48" y="500"/>
                        <a:pt x="50" y="499"/>
                      </a:cubicBezTo>
                      <a:cubicBezTo>
                        <a:pt x="52" y="498"/>
                        <a:pt x="54" y="497"/>
                        <a:pt x="56" y="496"/>
                      </a:cubicBezTo>
                      <a:cubicBezTo>
                        <a:pt x="59" y="496"/>
                        <a:pt x="62" y="492"/>
                        <a:pt x="64" y="491"/>
                      </a:cubicBezTo>
                      <a:cubicBezTo>
                        <a:pt x="66" y="489"/>
                        <a:pt x="69" y="485"/>
                        <a:pt x="70" y="483"/>
                      </a:cubicBezTo>
                      <a:cubicBezTo>
                        <a:pt x="71" y="481"/>
                        <a:pt x="73" y="479"/>
                        <a:pt x="74" y="478"/>
                      </a:cubicBezTo>
                      <a:cubicBezTo>
                        <a:pt x="74" y="477"/>
                        <a:pt x="72" y="475"/>
                        <a:pt x="74" y="475"/>
                      </a:cubicBezTo>
                      <a:cubicBezTo>
                        <a:pt x="75" y="474"/>
                        <a:pt x="77" y="476"/>
                        <a:pt x="78" y="474"/>
                      </a:cubicBezTo>
                      <a:cubicBezTo>
                        <a:pt x="78" y="472"/>
                        <a:pt x="77" y="471"/>
                        <a:pt x="78" y="470"/>
                      </a:cubicBezTo>
                      <a:cubicBezTo>
                        <a:pt x="79" y="469"/>
                        <a:pt x="81" y="469"/>
                        <a:pt x="82" y="467"/>
                      </a:cubicBezTo>
                      <a:cubicBezTo>
                        <a:pt x="83" y="466"/>
                        <a:pt x="83" y="465"/>
                        <a:pt x="82" y="463"/>
                      </a:cubicBezTo>
                      <a:cubicBezTo>
                        <a:pt x="81" y="462"/>
                        <a:pt x="81" y="460"/>
                        <a:pt x="81" y="461"/>
                      </a:cubicBezTo>
                      <a:cubicBezTo>
                        <a:pt x="82" y="462"/>
                        <a:pt x="83" y="462"/>
                        <a:pt x="84" y="464"/>
                      </a:cubicBezTo>
                      <a:cubicBezTo>
                        <a:pt x="86" y="466"/>
                        <a:pt x="87" y="468"/>
                        <a:pt x="88" y="467"/>
                      </a:cubicBezTo>
                      <a:cubicBezTo>
                        <a:pt x="89" y="466"/>
                        <a:pt x="91" y="463"/>
                        <a:pt x="93" y="462"/>
                      </a:cubicBezTo>
                      <a:cubicBezTo>
                        <a:pt x="94" y="460"/>
                        <a:pt x="95" y="458"/>
                        <a:pt x="95" y="456"/>
                      </a:cubicBezTo>
                      <a:cubicBezTo>
                        <a:pt x="95" y="453"/>
                        <a:pt x="95" y="451"/>
                        <a:pt x="94" y="449"/>
                      </a:cubicBezTo>
                      <a:cubicBezTo>
                        <a:pt x="93" y="448"/>
                        <a:pt x="92" y="446"/>
                        <a:pt x="93" y="447"/>
                      </a:cubicBezTo>
                      <a:cubicBezTo>
                        <a:pt x="94" y="447"/>
                        <a:pt x="94" y="444"/>
                        <a:pt x="93" y="442"/>
                      </a:cubicBezTo>
                      <a:cubicBezTo>
                        <a:pt x="92" y="441"/>
                        <a:pt x="91" y="437"/>
                        <a:pt x="92" y="439"/>
                      </a:cubicBezTo>
                      <a:cubicBezTo>
                        <a:pt x="93" y="440"/>
                        <a:pt x="95" y="448"/>
                        <a:pt x="96" y="447"/>
                      </a:cubicBezTo>
                      <a:cubicBezTo>
                        <a:pt x="97" y="447"/>
                        <a:pt x="97" y="446"/>
                        <a:pt x="97" y="444"/>
                      </a:cubicBezTo>
                      <a:cubicBezTo>
                        <a:pt x="96" y="441"/>
                        <a:pt x="96" y="438"/>
                        <a:pt x="96" y="435"/>
                      </a:cubicBezTo>
                      <a:cubicBezTo>
                        <a:pt x="96" y="432"/>
                        <a:pt x="97" y="432"/>
                        <a:pt x="97" y="435"/>
                      </a:cubicBezTo>
                      <a:cubicBezTo>
                        <a:pt x="97" y="439"/>
                        <a:pt x="96" y="439"/>
                        <a:pt x="97" y="443"/>
                      </a:cubicBezTo>
                      <a:cubicBezTo>
                        <a:pt x="98" y="448"/>
                        <a:pt x="99" y="448"/>
                        <a:pt x="99" y="452"/>
                      </a:cubicBezTo>
                      <a:cubicBezTo>
                        <a:pt x="100" y="456"/>
                        <a:pt x="101" y="457"/>
                        <a:pt x="102" y="458"/>
                      </a:cubicBezTo>
                      <a:cubicBezTo>
                        <a:pt x="103" y="460"/>
                        <a:pt x="107" y="459"/>
                        <a:pt x="108" y="461"/>
                      </a:cubicBezTo>
                      <a:cubicBezTo>
                        <a:pt x="108" y="461"/>
                        <a:pt x="110" y="462"/>
                        <a:pt x="111" y="464"/>
                      </a:cubicBezTo>
                      <a:cubicBezTo>
                        <a:pt x="112" y="466"/>
                        <a:pt x="114" y="470"/>
                        <a:pt x="115" y="470"/>
                      </a:cubicBezTo>
                      <a:cubicBezTo>
                        <a:pt x="116" y="470"/>
                        <a:pt x="116" y="465"/>
                        <a:pt x="117" y="461"/>
                      </a:cubicBezTo>
                      <a:cubicBezTo>
                        <a:pt x="117" y="458"/>
                        <a:pt x="118" y="456"/>
                        <a:pt x="117" y="454"/>
                      </a:cubicBezTo>
                      <a:cubicBezTo>
                        <a:pt x="116" y="452"/>
                        <a:pt x="116" y="447"/>
                        <a:pt x="115" y="445"/>
                      </a:cubicBezTo>
                      <a:cubicBezTo>
                        <a:pt x="115" y="443"/>
                        <a:pt x="118" y="441"/>
                        <a:pt x="118" y="439"/>
                      </a:cubicBezTo>
                      <a:cubicBezTo>
                        <a:pt x="118" y="436"/>
                        <a:pt x="117" y="434"/>
                        <a:pt x="118" y="434"/>
                      </a:cubicBezTo>
                      <a:cubicBezTo>
                        <a:pt x="119" y="433"/>
                        <a:pt x="122" y="434"/>
                        <a:pt x="124" y="433"/>
                      </a:cubicBezTo>
                      <a:cubicBezTo>
                        <a:pt x="125" y="432"/>
                        <a:pt x="127" y="427"/>
                        <a:pt x="128" y="424"/>
                      </a:cubicBezTo>
                      <a:cubicBezTo>
                        <a:pt x="128" y="422"/>
                        <a:pt x="127" y="420"/>
                        <a:pt x="128" y="418"/>
                      </a:cubicBezTo>
                      <a:cubicBezTo>
                        <a:pt x="128" y="416"/>
                        <a:pt x="129" y="412"/>
                        <a:pt x="128" y="409"/>
                      </a:cubicBezTo>
                      <a:cubicBezTo>
                        <a:pt x="127" y="407"/>
                        <a:pt x="124" y="403"/>
                        <a:pt x="124" y="400"/>
                      </a:cubicBezTo>
                      <a:cubicBezTo>
                        <a:pt x="123" y="397"/>
                        <a:pt x="123" y="395"/>
                        <a:pt x="123" y="393"/>
                      </a:cubicBezTo>
                      <a:cubicBezTo>
                        <a:pt x="123" y="391"/>
                        <a:pt x="127" y="392"/>
                        <a:pt x="129" y="391"/>
                      </a:cubicBezTo>
                      <a:cubicBezTo>
                        <a:pt x="130" y="391"/>
                        <a:pt x="131" y="387"/>
                        <a:pt x="132" y="383"/>
                      </a:cubicBezTo>
                      <a:cubicBezTo>
                        <a:pt x="132" y="379"/>
                        <a:pt x="131" y="380"/>
                        <a:pt x="130" y="377"/>
                      </a:cubicBezTo>
                      <a:cubicBezTo>
                        <a:pt x="130" y="375"/>
                        <a:pt x="126" y="373"/>
                        <a:pt x="125" y="372"/>
                      </a:cubicBezTo>
                      <a:cubicBezTo>
                        <a:pt x="124" y="372"/>
                        <a:pt x="121" y="368"/>
                        <a:pt x="120" y="367"/>
                      </a:cubicBezTo>
                      <a:cubicBezTo>
                        <a:pt x="118" y="365"/>
                        <a:pt x="119" y="364"/>
                        <a:pt x="120" y="357"/>
                      </a:cubicBezTo>
                      <a:cubicBezTo>
                        <a:pt x="120" y="351"/>
                        <a:pt x="120" y="349"/>
                        <a:pt x="120" y="345"/>
                      </a:cubicBezTo>
                      <a:cubicBezTo>
                        <a:pt x="121" y="341"/>
                        <a:pt x="120" y="342"/>
                        <a:pt x="118" y="338"/>
                      </a:cubicBezTo>
                      <a:cubicBezTo>
                        <a:pt x="116" y="333"/>
                        <a:pt x="117" y="330"/>
                        <a:pt x="117" y="325"/>
                      </a:cubicBezTo>
                      <a:cubicBezTo>
                        <a:pt x="116" y="320"/>
                        <a:pt x="116" y="318"/>
                        <a:pt x="117" y="315"/>
                      </a:cubicBezTo>
                      <a:cubicBezTo>
                        <a:pt x="118" y="313"/>
                        <a:pt x="116" y="311"/>
                        <a:pt x="115" y="308"/>
                      </a:cubicBezTo>
                      <a:cubicBezTo>
                        <a:pt x="114" y="305"/>
                        <a:pt x="115" y="302"/>
                        <a:pt x="116" y="300"/>
                      </a:cubicBezTo>
                      <a:cubicBezTo>
                        <a:pt x="117" y="297"/>
                        <a:pt x="116" y="296"/>
                        <a:pt x="116" y="294"/>
                      </a:cubicBezTo>
                      <a:cubicBezTo>
                        <a:pt x="116" y="292"/>
                        <a:pt x="120" y="284"/>
                        <a:pt x="122" y="281"/>
                      </a:cubicBezTo>
                      <a:cubicBezTo>
                        <a:pt x="125" y="277"/>
                        <a:pt x="131" y="273"/>
                        <a:pt x="133" y="274"/>
                      </a:cubicBezTo>
                      <a:cubicBezTo>
                        <a:pt x="134" y="275"/>
                        <a:pt x="140" y="276"/>
                        <a:pt x="144" y="275"/>
                      </a:cubicBezTo>
                      <a:cubicBezTo>
                        <a:pt x="148" y="274"/>
                        <a:pt x="146" y="270"/>
                        <a:pt x="146" y="266"/>
                      </a:cubicBezTo>
                      <a:cubicBezTo>
                        <a:pt x="145" y="261"/>
                        <a:pt x="145" y="260"/>
                        <a:pt x="144" y="260"/>
                      </a:cubicBezTo>
                      <a:cubicBezTo>
                        <a:pt x="142" y="260"/>
                        <a:pt x="140" y="257"/>
                        <a:pt x="138" y="255"/>
                      </a:cubicBezTo>
                      <a:cubicBezTo>
                        <a:pt x="137" y="253"/>
                        <a:pt x="140" y="250"/>
                        <a:pt x="142" y="245"/>
                      </a:cubicBezTo>
                      <a:cubicBezTo>
                        <a:pt x="145" y="240"/>
                        <a:pt x="147" y="237"/>
                        <a:pt x="147" y="234"/>
                      </a:cubicBezTo>
                      <a:cubicBezTo>
                        <a:pt x="147" y="231"/>
                        <a:pt x="147" y="229"/>
                        <a:pt x="148" y="229"/>
                      </a:cubicBezTo>
                      <a:cubicBezTo>
                        <a:pt x="149" y="228"/>
                        <a:pt x="150" y="225"/>
                        <a:pt x="150" y="220"/>
                      </a:cubicBezTo>
                      <a:cubicBezTo>
                        <a:pt x="149" y="216"/>
                        <a:pt x="149" y="214"/>
                        <a:pt x="150" y="211"/>
                      </a:cubicBezTo>
                      <a:cubicBezTo>
                        <a:pt x="151" y="208"/>
                        <a:pt x="151" y="205"/>
                        <a:pt x="149" y="200"/>
                      </a:cubicBezTo>
                      <a:cubicBezTo>
                        <a:pt x="148" y="196"/>
                        <a:pt x="150" y="195"/>
                        <a:pt x="152" y="195"/>
                      </a:cubicBezTo>
                      <a:cubicBezTo>
                        <a:pt x="154" y="195"/>
                        <a:pt x="161" y="191"/>
                        <a:pt x="162" y="189"/>
                      </a:cubicBezTo>
                      <a:cubicBezTo>
                        <a:pt x="164" y="188"/>
                        <a:pt x="163" y="187"/>
                        <a:pt x="161" y="183"/>
                      </a:cubicBezTo>
                      <a:cubicBezTo>
                        <a:pt x="160" y="179"/>
                        <a:pt x="164" y="179"/>
                        <a:pt x="166" y="174"/>
                      </a:cubicBezTo>
                      <a:cubicBezTo>
                        <a:pt x="168" y="169"/>
                        <a:pt x="171" y="165"/>
                        <a:pt x="173" y="162"/>
                      </a:cubicBezTo>
                      <a:cubicBezTo>
                        <a:pt x="175" y="159"/>
                        <a:pt x="176" y="160"/>
                        <a:pt x="176" y="157"/>
                      </a:cubicBezTo>
                      <a:cubicBezTo>
                        <a:pt x="176" y="153"/>
                        <a:pt x="174" y="151"/>
                        <a:pt x="172" y="148"/>
                      </a:cubicBezTo>
                      <a:cubicBezTo>
                        <a:pt x="170" y="145"/>
                        <a:pt x="170" y="146"/>
                        <a:pt x="172" y="143"/>
                      </a:cubicBezTo>
                      <a:cubicBezTo>
                        <a:pt x="175" y="141"/>
                        <a:pt x="176" y="139"/>
                        <a:pt x="177" y="135"/>
                      </a:cubicBezTo>
                      <a:cubicBezTo>
                        <a:pt x="178" y="131"/>
                        <a:pt x="178" y="130"/>
                        <a:pt x="180" y="127"/>
                      </a:cubicBezTo>
                      <a:cubicBezTo>
                        <a:pt x="183" y="124"/>
                        <a:pt x="185" y="120"/>
                        <a:pt x="188" y="119"/>
                      </a:cubicBezTo>
                      <a:cubicBezTo>
                        <a:pt x="191" y="118"/>
                        <a:pt x="191" y="120"/>
                        <a:pt x="195" y="121"/>
                      </a:cubicBezTo>
                      <a:cubicBezTo>
                        <a:pt x="198" y="123"/>
                        <a:pt x="198" y="121"/>
                        <a:pt x="200" y="118"/>
                      </a:cubicBezTo>
                      <a:cubicBezTo>
                        <a:pt x="201" y="114"/>
                        <a:pt x="200" y="111"/>
                        <a:pt x="199" y="105"/>
                      </a:cubicBezTo>
                      <a:cubicBezTo>
                        <a:pt x="198" y="99"/>
                        <a:pt x="200" y="100"/>
                        <a:pt x="202" y="100"/>
                      </a:cubicBezTo>
                      <a:cubicBezTo>
                        <a:pt x="204" y="99"/>
                        <a:pt x="206" y="102"/>
                        <a:pt x="208" y="103"/>
                      </a:cubicBezTo>
                      <a:cubicBezTo>
                        <a:pt x="210" y="103"/>
                        <a:pt x="210" y="102"/>
                        <a:pt x="213" y="103"/>
                      </a:cubicBezTo>
                      <a:cubicBezTo>
                        <a:pt x="216" y="103"/>
                        <a:pt x="220" y="104"/>
                        <a:pt x="223" y="106"/>
                      </a:cubicBezTo>
                      <a:cubicBezTo>
                        <a:pt x="226" y="107"/>
                        <a:pt x="228" y="108"/>
                        <a:pt x="229" y="106"/>
                      </a:cubicBezTo>
                      <a:cubicBezTo>
                        <a:pt x="230" y="104"/>
                        <a:pt x="231" y="104"/>
                        <a:pt x="229" y="102"/>
                      </a:cubicBezTo>
                      <a:cubicBezTo>
                        <a:pt x="227" y="100"/>
                        <a:pt x="230" y="95"/>
                        <a:pt x="231" y="91"/>
                      </a:cubicBezTo>
                      <a:cubicBezTo>
                        <a:pt x="233" y="87"/>
                        <a:pt x="232" y="88"/>
                        <a:pt x="230" y="85"/>
                      </a:cubicBezTo>
                      <a:cubicBezTo>
                        <a:pt x="229" y="82"/>
                        <a:pt x="230" y="82"/>
                        <a:pt x="232" y="81"/>
                      </a:cubicBezTo>
                      <a:cubicBezTo>
                        <a:pt x="234" y="80"/>
                        <a:pt x="238" y="80"/>
                        <a:pt x="238" y="80"/>
                      </a:cubicBezTo>
                      <a:cubicBezTo>
                        <a:pt x="237" y="79"/>
                        <a:pt x="237" y="79"/>
                        <a:pt x="237" y="79"/>
                      </a:cubicBezTo>
                      <a:cubicBezTo>
                        <a:pt x="238" y="79"/>
                        <a:pt x="240" y="80"/>
                        <a:pt x="241" y="76"/>
                      </a:cubicBezTo>
                      <a:cubicBezTo>
                        <a:pt x="243" y="72"/>
                        <a:pt x="243" y="71"/>
                        <a:pt x="248" y="71"/>
                      </a:cubicBezTo>
                      <a:cubicBezTo>
                        <a:pt x="253" y="70"/>
                        <a:pt x="254" y="76"/>
                        <a:pt x="256" y="79"/>
                      </a:cubicBezTo>
                      <a:cubicBezTo>
                        <a:pt x="258" y="82"/>
                        <a:pt x="262" y="86"/>
                        <a:pt x="264" y="91"/>
                      </a:cubicBezTo>
                      <a:cubicBezTo>
                        <a:pt x="265" y="95"/>
                        <a:pt x="267" y="95"/>
                        <a:pt x="270" y="96"/>
                      </a:cubicBezTo>
                      <a:cubicBezTo>
                        <a:pt x="274" y="96"/>
                        <a:pt x="278" y="98"/>
                        <a:pt x="281" y="97"/>
                      </a:cubicBezTo>
                      <a:cubicBezTo>
                        <a:pt x="284" y="96"/>
                        <a:pt x="286" y="90"/>
                        <a:pt x="289" y="92"/>
                      </a:cubicBezTo>
                      <a:cubicBezTo>
                        <a:pt x="291" y="93"/>
                        <a:pt x="294" y="93"/>
                        <a:pt x="298" y="94"/>
                      </a:cubicBezTo>
                      <a:cubicBezTo>
                        <a:pt x="301" y="94"/>
                        <a:pt x="302" y="100"/>
                        <a:pt x="305" y="97"/>
                      </a:cubicBezTo>
                      <a:cubicBezTo>
                        <a:pt x="307" y="95"/>
                        <a:pt x="307" y="94"/>
                        <a:pt x="309" y="89"/>
                      </a:cubicBezTo>
                      <a:cubicBezTo>
                        <a:pt x="310" y="84"/>
                        <a:pt x="312" y="87"/>
                        <a:pt x="314" y="87"/>
                      </a:cubicBezTo>
                      <a:cubicBezTo>
                        <a:pt x="316" y="86"/>
                        <a:pt x="315" y="82"/>
                        <a:pt x="314" y="78"/>
                      </a:cubicBezTo>
                      <a:cubicBezTo>
                        <a:pt x="314" y="73"/>
                        <a:pt x="314" y="69"/>
                        <a:pt x="315" y="65"/>
                      </a:cubicBezTo>
                      <a:cubicBezTo>
                        <a:pt x="315" y="61"/>
                        <a:pt x="316" y="60"/>
                        <a:pt x="319" y="57"/>
                      </a:cubicBezTo>
                      <a:cubicBezTo>
                        <a:pt x="321" y="53"/>
                        <a:pt x="323" y="48"/>
                        <a:pt x="326" y="47"/>
                      </a:cubicBezTo>
                      <a:cubicBezTo>
                        <a:pt x="329" y="45"/>
                        <a:pt x="331" y="47"/>
                        <a:pt x="334" y="46"/>
                      </a:cubicBezTo>
                      <a:cubicBezTo>
                        <a:pt x="337" y="45"/>
                        <a:pt x="340" y="40"/>
                        <a:pt x="342" y="40"/>
                      </a:cubicBezTo>
                      <a:cubicBezTo>
                        <a:pt x="344" y="39"/>
                        <a:pt x="347" y="42"/>
                        <a:pt x="349" y="47"/>
                      </a:cubicBezTo>
                      <a:cubicBezTo>
                        <a:pt x="352" y="52"/>
                        <a:pt x="358" y="52"/>
                        <a:pt x="361" y="54"/>
                      </a:cubicBezTo>
                      <a:cubicBezTo>
                        <a:pt x="365" y="57"/>
                        <a:pt x="367" y="57"/>
                        <a:pt x="368" y="64"/>
                      </a:cubicBezTo>
                      <a:cubicBezTo>
                        <a:pt x="368" y="71"/>
                        <a:pt x="365" y="70"/>
                        <a:pt x="363" y="74"/>
                      </a:cubicBezTo>
                      <a:cubicBezTo>
                        <a:pt x="361" y="79"/>
                        <a:pt x="365" y="82"/>
                        <a:pt x="366" y="82"/>
                      </a:cubicBezTo>
                      <a:cubicBezTo>
                        <a:pt x="366" y="82"/>
                        <a:pt x="367" y="81"/>
                        <a:pt x="367" y="81"/>
                      </a:cubicBezTo>
                      <a:cubicBezTo>
                        <a:pt x="369" y="79"/>
                        <a:pt x="370" y="75"/>
                        <a:pt x="371" y="71"/>
                      </a:cubicBezTo>
                      <a:cubicBezTo>
                        <a:pt x="372" y="68"/>
                        <a:pt x="374" y="69"/>
                        <a:pt x="377" y="68"/>
                      </a:cubicBezTo>
                      <a:cubicBezTo>
                        <a:pt x="381" y="67"/>
                        <a:pt x="381" y="58"/>
                        <a:pt x="383" y="60"/>
                      </a:cubicBezTo>
                      <a:cubicBezTo>
                        <a:pt x="385" y="62"/>
                        <a:pt x="391" y="65"/>
                        <a:pt x="392" y="62"/>
                      </a:cubicBezTo>
                      <a:cubicBezTo>
                        <a:pt x="393" y="59"/>
                        <a:pt x="393" y="54"/>
                        <a:pt x="393" y="54"/>
                      </a:cubicBezTo>
                      <a:cubicBezTo>
                        <a:pt x="393" y="54"/>
                        <a:pt x="393" y="53"/>
                        <a:pt x="393" y="5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1" name="Freeform 19">
                  <a:extLst>
                    <a:ext uri="{FF2B5EF4-FFF2-40B4-BE49-F238E27FC236}">
                      <a16:creationId xmlns:a16="http://schemas.microsoft.com/office/drawing/2014/main" id="{2B1E0E02-8A20-CAB3-3105-A2DA46254E6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16264" y="3481388"/>
                  <a:ext cx="12700" cy="38100"/>
                </a:xfrm>
                <a:custGeom>
                  <a:avLst/>
                  <a:gdLst>
                    <a:gd name="T0" fmla="*/ 2 w 3"/>
                    <a:gd name="T1" fmla="*/ 1 h 9"/>
                    <a:gd name="T2" fmla="*/ 0 w 3"/>
                    <a:gd name="T3" fmla="*/ 4 h 9"/>
                    <a:gd name="T4" fmla="*/ 2 w 3"/>
                    <a:gd name="T5" fmla="*/ 8 h 9"/>
                    <a:gd name="T6" fmla="*/ 2 w 3"/>
                    <a:gd name="T7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9">
                      <a:moveTo>
                        <a:pt x="2" y="1"/>
                      </a:moveTo>
                      <a:cubicBezTo>
                        <a:pt x="0" y="0"/>
                        <a:pt x="0" y="3"/>
                        <a:pt x="0" y="4"/>
                      </a:cubicBezTo>
                      <a:cubicBezTo>
                        <a:pt x="0" y="6"/>
                        <a:pt x="1" y="9"/>
                        <a:pt x="2" y="8"/>
                      </a:cubicBezTo>
                      <a:cubicBezTo>
                        <a:pt x="3" y="6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2" name="Freeform 20">
                  <a:extLst>
                    <a:ext uri="{FF2B5EF4-FFF2-40B4-BE49-F238E27FC236}">
                      <a16:creationId xmlns:a16="http://schemas.microsoft.com/office/drawing/2014/main" id="{298D4AD8-596F-24DA-8A2F-445D7CC5191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98801" y="3498850"/>
                  <a:ext cx="22225" cy="33338"/>
                </a:xfrm>
                <a:custGeom>
                  <a:avLst/>
                  <a:gdLst>
                    <a:gd name="T0" fmla="*/ 2 w 5"/>
                    <a:gd name="T1" fmla="*/ 1 h 8"/>
                    <a:gd name="T2" fmla="*/ 1 w 5"/>
                    <a:gd name="T3" fmla="*/ 5 h 8"/>
                    <a:gd name="T4" fmla="*/ 3 w 5"/>
                    <a:gd name="T5" fmla="*/ 7 h 8"/>
                    <a:gd name="T6" fmla="*/ 4 w 5"/>
                    <a:gd name="T7" fmla="*/ 4 h 8"/>
                    <a:gd name="T8" fmla="*/ 2 w 5"/>
                    <a:gd name="T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2" y="1"/>
                      </a:moveTo>
                      <a:cubicBezTo>
                        <a:pt x="1" y="0"/>
                        <a:pt x="0" y="3"/>
                        <a:pt x="1" y="5"/>
                      </a:cubicBezTo>
                      <a:cubicBezTo>
                        <a:pt x="1" y="7"/>
                        <a:pt x="2" y="8"/>
                        <a:pt x="3" y="7"/>
                      </a:cubicBezTo>
                      <a:cubicBezTo>
                        <a:pt x="5" y="7"/>
                        <a:pt x="4" y="6"/>
                        <a:pt x="4" y="4"/>
                      </a:cubicBezTo>
                      <a:cubicBezTo>
                        <a:pt x="4" y="2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3" name="Freeform 21">
                  <a:extLst>
                    <a:ext uri="{FF2B5EF4-FFF2-40B4-BE49-F238E27FC236}">
                      <a16:creationId xmlns:a16="http://schemas.microsoft.com/office/drawing/2014/main" id="{77932A0B-2C54-A948-DD64-2BB4D87BF55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87689" y="3519488"/>
                  <a:ext cx="20638" cy="46038"/>
                </a:xfrm>
                <a:custGeom>
                  <a:avLst/>
                  <a:gdLst>
                    <a:gd name="T0" fmla="*/ 3 w 5"/>
                    <a:gd name="T1" fmla="*/ 1 h 11"/>
                    <a:gd name="T2" fmla="*/ 1 w 5"/>
                    <a:gd name="T3" fmla="*/ 5 h 11"/>
                    <a:gd name="T4" fmla="*/ 2 w 5"/>
                    <a:gd name="T5" fmla="*/ 9 h 11"/>
                    <a:gd name="T6" fmla="*/ 4 w 5"/>
                    <a:gd name="T7" fmla="*/ 5 h 11"/>
                    <a:gd name="T8" fmla="*/ 3 w 5"/>
                    <a:gd name="T9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1">
                      <a:moveTo>
                        <a:pt x="3" y="1"/>
                      </a:moveTo>
                      <a:cubicBezTo>
                        <a:pt x="1" y="0"/>
                        <a:pt x="1" y="3"/>
                        <a:pt x="1" y="5"/>
                      </a:cubicBezTo>
                      <a:cubicBezTo>
                        <a:pt x="0" y="8"/>
                        <a:pt x="1" y="11"/>
                        <a:pt x="2" y="9"/>
                      </a:cubicBezTo>
                      <a:cubicBezTo>
                        <a:pt x="3" y="7"/>
                        <a:pt x="3" y="6"/>
                        <a:pt x="4" y="5"/>
                      </a:cubicBezTo>
                      <a:cubicBezTo>
                        <a:pt x="5" y="4"/>
                        <a:pt x="4" y="2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4" name="Freeform 22">
                  <a:extLst>
                    <a:ext uri="{FF2B5EF4-FFF2-40B4-BE49-F238E27FC236}">
                      <a16:creationId xmlns:a16="http://schemas.microsoft.com/office/drawing/2014/main" id="{27DCECB9-5009-DEE5-9954-6FA801868FA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98801" y="3535363"/>
                  <a:ext cx="25400" cy="63500"/>
                </a:xfrm>
                <a:custGeom>
                  <a:avLst/>
                  <a:gdLst>
                    <a:gd name="T0" fmla="*/ 4 w 6"/>
                    <a:gd name="T1" fmla="*/ 1 h 15"/>
                    <a:gd name="T2" fmla="*/ 2 w 6"/>
                    <a:gd name="T3" fmla="*/ 3 h 15"/>
                    <a:gd name="T4" fmla="*/ 0 w 6"/>
                    <a:gd name="T5" fmla="*/ 8 h 15"/>
                    <a:gd name="T6" fmla="*/ 1 w 6"/>
                    <a:gd name="T7" fmla="*/ 13 h 15"/>
                    <a:gd name="T8" fmla="*/ 3 w 6"/>
                    <a:gd name="T9" fmla="*/ 14 h 15"/>
                    <a:gd name="T10" fmla="*/ 3 w 6"/>
                    <a:gd name="T11" fmla="*/ 10 h 15"/>
                    <a:gd name="T12" fmla="*/ 4 w 6"/>
                    <a:gd name="T13" fmla="*/ 7 h 15"/>
                    <a:gd name="T14" fmla="*/ 5 w 6"/>
                    <a:gd name="T15" fmla="*/ 3 h 15"/>
                    <a:gd name="T16" fmla="*/ 4 w 6"/>
                    <a:gd name="T17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15">
                      <a:moveTo>
                        <a:pt x="4" y="1"/>
                      </a:moveTo>
                      <a:cubicBezTo>
                        <a:pt x="4" y="0"/>
                        <a:pt x="3" y="1"/>
                        <a:pt x="2" y="3"/>
                      </a:cubicBezTo>
                      <a:cubicBezTo>
                        <a:pt x="0" y="5"/>
                        <a:pt x="0" y="6"/>
                        <a:pt x="0" y="8"/>
                      </a:cubicBezTo>
                      <a:cubicBezTo>
                        <a:pt x="0" y="11"/>
                        <a:pt x="0" y="12"/>
                        <a:pt x="1" y="13"/>
                      </a:cubicBezTo>
                      <a:cubicBezTo>
                        <a:pt x="1" y="14"/>
                        <a:pt x="2" y="15"/>
                        <a:pt x="3" y="14"/>
                      </a:cubicBezTo>
                      <a:cubicBezTo>
                        <a:pt x="4" y="13"/>
                        <a:pt x="4" y="12"/>
                        <a:pt x="3" y="10"/>
                      </a:cubicBezTo>
                      <a:cubicBezTo>
                        <a:pt x="2" y="8"/>
                        <a:pt x="3" y="8"/>
                        <a:pt x="4" y="7"/>
                      </a:cubicBezTo>
                      <a:cubicBezTo>
                        <a:pt x="5" y="5"/>
                        <a:pt x="6" y="4"/>
                        <a:pt x="5" y="3"/>
                      </a:cubicBezTo>
                      <a:cubicBezTo>
                        <a:pt x="4" y="1"/>
                        <a:pt x="4" y="1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5" name="Freeform 23">
                  <a:extLst>
                    <a:ext uri="{FF2B5EF4-FFF2-40B4-BE49-F238E27FC236}">
                      <a16:creationId xmlns:a16="http://schemas.microsoft.com/office/drawing/2014/main" id="{0FA8323D-E27E-F16C-8796-A63FAACFB5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11501" y="3578225"/>
                  <a:ext cx="9525" cy="28575"/>
                </a:xfrm>
                <a:custGeom>
                  <a:avLst/>
                  <a:gdLst>
                    <a:gd name="T0" fmla="*/ 1 w 2"/>
                    <a:gd name="T1" fmla="*/ 2 h 7"/>
                    <a:gd name="T2" fmla="*/ 1 w 2"/>
                    <a:gd name="T3" fmla="*/ 6 h 7"/>
                    <a:gd name="T4" fmla="*/ 2 w 2"/>
                    <a:gd name="T5" fmla="*/ 5 h 7"/>
                    <a:gd name="T6" fmla="*/ 1 w 2"/>
                    <a:gd name="T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7">
                      <a:moveTo>
                        <a:pt x="1" y="2"/>
                      </a:moveTo>
                      <a:cubicBezTo>
                        <a:pt x="0" y="3"/>
                        <a:pt x="0" y="6"/>
                        <a:pt x="1" y="6"/>
                      </a:cubicBezTo>
                      <a:cubicBezTo>
                        <a:pt x="2" y="7"/>
                        <a:pt x="2" y="7"/>
                        <a:pt x="2" y="5"/>
                      </a:cubicBezTo>
                      <a:cubicBezTo>
                        <a:pt x="2" y="3"/>
                        <a:pt x="2" y="0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6" name="Freeform 24">
                  <a:extLst>
                    <a:ext uri="{FF2B5EF4-FFF2-40B4-BE49-F238E27FC236}">
                      <a16:creationId xmlns:a16="http://schemas.microsoft.com/office/drawing/2014/main" id="{621908E5-B339-0C04-DFE8-0710685201D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90864" y="3590925"/>
                  <a:ext cx="12700" cy="36513"/>
                </a:xfrm>
                <a:custGeom>
                  <a:avLst/>
                  <a:gdLst>
                    <a:gd name="T0" fmla="*/ 2 w 3"/>
                    <a:gd name="T1" fmla="*/ 1 h 9"/>
                    <a:gd name="T2" fmla="*/ 1 w 3"/>
                    <a:gd name="T3" fmla="*/ 5 h 9"/>
                    <a:gd name="T4" fmla="*/ 2 w 3"/>
                    <a:gd name="T5" fmla="*/ 9 h 9"/>
                    <a:gd name="T6" fmla="*/ 3 w 3"/>
                    <a:gd name="T7" fmla="*/ 7 h 9"/>
                    <a:gd name="T8" fmla="*/ 2 w 3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9">
                      <a:moveTo>
                        <a:pt x="2" y="1"/>
                      </a:moveTo>
                      <a:cubicBezTo>
                        <a:pt x="1" y="0"/>
                        <a:pt x="1" y="3"/>
                        <a:pt x="1" y="5"/>
                      </a:cubicBezTo>
                      <a:cubicBezTo>
                        <a:pt x="0" y="6"/>
                        <a:pt x="1" y="8"/>
                        <a:pt x="2" y="9"/>
                      </a:cubicBezTo>
                      <a:cubicBezTo>
                        <a:pt x="2" y="9"/>
                        <a:pt x="3" y="9"/>
                        <a:pt x="3" y="7"/>
                      </a:cubicBezTo>
                      <a:cubicBezTo>
                        <a:pt x="3" y="5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7" name="Freeform 25">
                  <a:extLst>
                    <a:ext uri="{FF2B5EF4-FFF2-40B4-BE49-F238E27FC236}">
                      <a16:creationId xmlns:a16="http://schemas.microsoft.com/office/drawing/2014/main" id="{7625B7BB-FABC-09D4-6C4F-65D272651F7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74989" y="3424238"/>
                  <a:ext cx="15875" cy="36513"/>
                </a:xfrm>
                <a:custGeom>
                  <a:avLst/>
                  <a:gdLst>
                    <a:gd name="T0" fmla="*/ 1 w 4"/>
                    <a:gd name="T1" fmla="*/ 2 h 9"/>
                    <a:gd name="T2" fmla="*/ 0 w 4"/>
                    <a:gd name="T3" fmla="*/ 4 h 9"/>
                    <a:gd name="T4" fmla="*/ 1 w 4"/>
                    <a:gd name="T5" fmla="*/ 9 h 9"/>
                    <a:gd name="T6" fmla="*/ 3 w 4"/>
                    <a:gd name="T7" fmla="*/ 7 h 9"/>
                    <a:gd name="T8" fmla="*/ 1 w 4"/>
                    <a:gd name="T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9">
                      <a:moveTo>
                        <a:pt x="1" y="2"/>
                      </a:moveTo>
                      <a:cubicBezTo>
                        <a:pt x="0" y="0"/>
                        <a:pt x="0" y="2"/>
                        <a:pt x="0" y="4"/>
                      </a:cubicBezTo>
                      <a:cubicBezTo>
                        <a:pt x="0" y="6"/>
                        <a:pt x="0" y="8"/>
                        <a:pt x="1" y="9"/>
                      </a:cubicBezTo>
                      <a:cubicBezTo>
                        <a:pt x="2" y="9"/>
                        <a:pt x="3" y="9"/>
                        <a:pt x="3" y="7"/>
                      </a:cubicBezTo>
                      <a:cubicBezTo>
                        <a:pt x="4" y="6"/>
                        <a:pt x="2" y="4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8" name="Freeform 26">
                  <a:extLst>
                    <a:ext uri="{FF2B5EF4-FFF2-40B4-BE49-F238E27FC236}">
                      <a16:creationId xmlns:a16="http://schemas.microsoft.com/office/drawing/2014/main" id="{FDC6D9BA-1B6B-6E6A-18B3-21BE8D08A1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65464" y="3306763"/>
                  <a:ext cx="17463" cy="25400"/>
                </a:xfrm>
                <a:custGeom>
                  <a:avLst/>
                  <a:gdLst>
                    <a:gd name="T0" fmla="*/ 1 w 4"/>
                    <a:gd name="T1" fmla="*/ 1 h 6"/>
                    <a:gd name="T2" fmla="*/ 0 w 4"/>
                    <a:gd name="T3" fmla="*/ 4 h 6"/>
                    <a:gd name="T4" fmla="*/ 3 w 4"/>
                    <a:gd name="T5" fmla="*/ 5 h 6"/>
                    <a:gd name="T6" fmla="*/ 1 w 4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1" y="1"/>
                      </a:moveTo>
                      <a:cubicBezTo>
                        <a:pt x="1" y="0"/>
                        <a:pt x="0" y="2"/>
                        <a:pt x="0" y="4"/>
                      </a:cubicBezTo>
                      <a:cubicBezTo>
                        <a:pt x="1" y="6"/>
                        <a:pt x="2" y="5"/>
                        <a:pt x="3" y="5"/>
                      </a:cubicBezTo>
                      <a:cubicBezTo>
                        <a:pt x="4" y="4"/>
                        <a:pt x="3" y="3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69" name="Freeform 27">
                  <a:extLst>
                    <a:ext uri="{FF2B5EF4-FFF2-40B4-BE49-F238E27FC236}">
                      <a16:creationId xmlns:a16="http://schemas.microsoft.com/office/drawing/2014/main" id="{B5FD18C2-80A6-965F-434F-0386A2072C2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74989" y="3143250"/>
                  <a:ext cx="23813" cy="33338"/>
                </a:xfrm>
                <a:custGeom>
                  <a:avLst/>
                  <a:gdLst>
                    <a:gd name="T0" fmla="*/ 6 w 6"/>
                    <a:gd name="T1" fmla="*/ 6 h 8"/>
                    <a:gd name="T2" fmla="*/ 3 w 6"/>
                    <a:gd name="T3" fmla="*/ 1 h 8"/>
                    <a:gd name="T4" fmla="*/ 1 w 6"/>
                    <a:gd name="T5" fmla="*/ 4 h 8"/>
                    <a:gd name="T6" fmla="*/ 4 w 6"/>
                    <a:gd name="T7" fmla="*/ 7 h 8"/>
                    <a:gd name="T8" fmla="*/ 6 w 6"/>
                    <a:gd name="T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8">
                      <a:moveTo>
                        <a:pt x="6" y="6"/>
                      </a:moveTo>
                      <a:cubicBezTo>
                        <a:pt x="5" y="4"/>
                        <a:pt x="5" y="2"/>
                        <a:pt x="3" y="1"/>
                      </a:cubicBezTo>
                      <a:cubicBezTo>
                        <a:pt x="2" y="0"/>
                        <a:pt x="0" y="2"/>
                        <a:pt x="1" y="4"/>
                      </a:cubicBezTo>
                      <a:cubicBezTo>
                        <a:pt x="2" y="6"/>
                        <a:pt x="3" y="6"/>
                        <a:pt x="4" y="7"/>
                      </a:cubicBezTo>
                      <a:cubicBezTo>
                        <a:pt x="5" y="8"/>
                        <a:pt x="6" y="6"/>
                        <a:pt x="6" y="6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0" name="Freeform 28">
                  <a:extLst>
                    <a:ext uri="{FF2B5EF4-FFF2-40B4-BE49-F238E27FC236}">
                      <a16:creationId xmlns:a16="http://schemas.microsoft.com/office/drawing/2014/main" id="{D0F377FA-A882-9222-5322-7B094F97C3D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28964" y="3106738"/>
                  <a:ext cx="15875" cy="36513"/>
                </a:xfrm>
                <a:custGeom>
                  <a:avLst/>
                  <a:gdLst>
                    <a:gd name="T0" fmla="*/ 2 w 4"/>
                    <a:gd name="T1" fmla="*/ 1 h 9"/>
                    <a:gd name="T2" fmla="*/ 1 w 4"/>
                    <a:gd name="T3" fmla="*/ 5 h 9"/>
                    <a:gd name="T4" fmla="*/ 2 w 4"/>
                    <a:gd name="T5" fmla="*/ 8 h 9"/>
                    <a:gd name="T6" fmla="*/ 4 w 4"/>
                    <a:gd name="T7" fmla="*/ 4 h 9"/>
                    <a:gd name="T8" fmla="*/ 2 w 4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9">
                      <a:moveTo>
                        <a:pt x="2" y="1"/>
                      </a:moveTo>
                      <a:cubicBezTo>
                        <a:pt x="1" y="0"/>
                        <a:pt x="1" y="3"/>
                        <a:pt x="1" y="5"/>
                      </a:cubicBezTo>
                      <a:cubicBezTo>
                        <a:pt x="0" y="8"/>
                        <a:pt x="1" y="9"/>
                        <a:pt x="2" y="8"/>
                      </a:cubicBezTo>
                      <a:cubicBezTo>
                        <a:pt x="3" y="8"/>
                        <a:pt x="4" y="6"/>
                        <a:pt x="4" y="4"/>
                      </a:cubicBezTo>
                      <a:cubicBezTo>
                        <a:pt x="3" y="2"/>
                        <a:pt x="2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1" name="Freeform 29">
                  <a:extLst>
                    <a:ext uri="{FF2B5EF4-FFF2-40B4-BE49-F238E27FC236}">
                      <a16:creationId xmlns:a16="http://schemas.microsoft.com/office/drawing/2014/main" id="{6E3D8207-7D6D-6A82-772A-C9384F57FF8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33739" y="3001963"/>
                  <a:ext cx="23813" cy="28575"/>
                </a:xfrm>
                <a:custGeom>
                  <a:avLst/>
                  <a:gdLst>
                    <a:gd name="T0" fmla="*/ 0 w 6"/>
                    <a:gd name="T1" fmla="*/ 6 h 7"/>
                    <a:gd name="T2" fmla="*/ 1 w 6"/>
                    <a:gd name="T3" fmla="*/ 2 h 7"/>
                    <a:gd name="T4" fmla="*/ 4 w 6"/>
                    <a:gd name="T5" fmla="*/ 0 h 7"/>
                    <a:gd name="T6" fmla="*/ 6 w 6"/>
                    <a:gd name="T7" fmla="*/ 3 h 7"/>
                    <a:gd name="T8" fmla="*/ 4 w 6"/>
                    <a:gd name="T9" fmla="*/ 6 h 7"/>
                    <a:gd name="T10" fmla="*/ 0 w 6"/>
                    <a:gd name="T1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7">
                      <a:moveTo>
                        <a:pt x="0" y="6"/>
                      </a:moveTo>
                      <a:cubicBezTo>
                        <a:pt x="0" y="4"/>
                        <a:pt x="0" y="3"/>
                        <a:pt x="1" y="2"/>
                      </a:cubicBezTo>
                      <a:cubicBezTo>
                        <a:pt x="3" y="1"/>
                        <a:pt x="3" y="0"/>
                        <a:pt x="4" y="0"/>
                      </a:cubicBezTo>
                      <a:cubicBezTo>
                        <a:pt x="6" y="0"/>
                        <a:pt x="6" y="2"/>
                        <a:pt x="6" y="3"/>
                      </a:cubicBezTo>
                      <a:cubicBezTo>
                        <a:pt x="5" y="5"/>
                        <a:pt x="5" y="5"/>
                        <a:pt x="4" y="6"/>
                      </a:cubicBezTo>
                      <a:cubicBezTo>
                        <a:pt x="3" y="6"/>
                        <a:pt x="1" y="7"/>
                        <a:pt x="0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2" name="Freeform 30">
                  <a:extLst>
                    <a:ext uri="{FF2B5EF4-FFF2-40B4-BE49-F238E27FC236}">
                      <a16:creationId xmlns:a16="http://schemas.microsoft.com/office/drawing/2014/main" id="{6148FBE1-BE92-16B9-D753-DFE7BC6B442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62314" y="2986088"/>
                  <a:ext cx="25400" cy="20638"/>
                </a:xfrm>
                <a:custGeom>
                  <a:avLst/>
                  <a:gdLst>
                    <a:gd name="T0" fmla="*/ 4 w 6"/>
                    <a:gd name="T1" fmla="*/ 1 h 5"/>
                    <a:gd name="T2" fmla="*/ 1 w 6"/>
                    <a:gd name="T3" fmla="*/ 3 h 5"/>
                    <a:gd name="T4" fmla="*/ 5 w 6"/>
                    <a:gd name="T5" fmla="*/ 5 h 5"/>
                    <a:gd name="T6" fmla="*/ 4 w 6"/>
                    <a:gd name="T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4" y="1"/>
                      </a:moveTo>
                      <a:cubicBezTo>
                        <a:pt x="3" y="0"/>
                        <a:pt x="0" y="1"/>
                        <a:pt x="1" y="3"/>
                      </a:cubicBezTo>
                      <a:cubicBezTo>
                        <a:pt x="3" y="4"/>
                        <a:pt x="4" y="5"/>
                        <a:pt x="5" y="5"/>
                      </a:cubicBezTo>
                      <a:cubicBezTo>
                        <a:pt x="6" y="5"/>
                        <a:pt x="5" y="2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3" name="Freeform 31">
                  <a:extLst>
                    <a:ext uri="{FF2B5EF4-FFF2-40B4-BE49-F238E27FC236}">
                      <a16:creationId xmlns:a16="http://schemas.microsoft.com/office/drawing/2014/main" id="{174AF861-1409-9FB2-37C4-CF4203F930B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49614" y="2947988"/>
                  <a:ext cx="38100" cy="33338"/>
                </a:xfrm>
                <a:custGeom>
                  <a:avLst/>
                  <a:gdLst>
                    <a:gd name="T0" fmla="*/ 5 w 9"/>
                    <a:gd name="T1" fmla="*/ 1 h 8"/>
                    <a:gd name="T2" fmla="*/ 1 w 9"/>
                    <a:gd name="T3" fmla="*/ 4 h 8"/>
                    <a:gd name="T4" fmla="*/ 6 w 9"/>
                    <a:gd name="T5" fmla="*/ 7 h 8"/>
                    <a:gd name="T6" fmla="*/ 8 w 9"/>
                    <a:gd name="T7" fmla="*/ 5 h 8"/>
                    <a:gd name="T8" fmla="*/ 5 w 9"/>
                    <a:gd name="T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5" y="1"/>
                      </a:moveTo>
                      <a:cubicBezTo>
                        <a:pt x="4" y="0"/>
                        <a:pt x="0" y="2"/>
                        <a:pt x="1" y="4"/>
                      </a:cubicBezTo>
                      <a:cubicBezTo>
                        <a:pt x="2" y="6"/>
                        <a:pt x="4" y="7"/>
                        <a:pt x="6" y="7"/>
                      </a:cubicBezTo>
                      <a:cubicBezTo>
                        <a:pt x="7" y="8"/>
                        <a:pt x="9" y="7"/>
                        <a:pt x="8" y="5"/>
                      </a:cubicBezTo>
                      <a:cubicBezTo>
                        <a:pt x="8" y="4"/>
                        <a:pt x="6" y="1"/>
                        <a:pt x="5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4" name="Freeform 32">
                  <a:extLst>
                    <a:ext uri="{FF2B5EF4-FFF2-40B4-BE49-F238E27FC236}">
                      <a16:creationId xmlns:a16="http://schemas.microsoft.com/office/drawing/2014/main" id="{50AB41F8-D48E-0B45-9FB6-0F98BE1CB7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00414" y="2943225"/>
                  <a:ext cx="15875" cy="30163"/>
                </a:xfrm>
                <a:custGeom>
                  <a:avLst/>
                  <a:gdLst>
                    <a:gd name="T0" fmla="*/ 2 w 4"/>
                    <a:gd name="T1" fmla="*/ 6 h 7"/>
                    <a:gd name="T2" fmla="*/ 1 w 4"/>
                    <a:gd name="T3" fmla="*/ 3 h 7"/>
                    <a:gd name="T4" fmla="*/ 4 w 4"/>
                    <a:gd name="T5" fmla="*/ 2 h 7"/>
                    <a:gd name="T6" fmla="*/ 2 w 4"/>
                    <a:gd name="T7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7">
                      <a:moveTo>
                        <a:pt x="2" y="6"/>
                      </a:moveTo>
                      <a:cubicBezTo>
                        <a:pt x="0" y="4"/>
                        <a:pt x="0" y="4"/>
                        <a:pt x="1" y="3"/>
                      </a:cubicBezTo>
                      <a:cubicBezTo>
                        <a:pt x="1" y="2"/>
                        <a:pt x="4" y="0"/>
                        <a:pt x="4" y="2"/>
                      </a:cubicBezTo>
                      <a:cubicBezTo>
                        <a:pt x="4" y="5"/>
                        <a:pt x="4" y="7"/>
                        <a:pt x="2" y="6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5" name="Freeform 33">
                  <a:extLst>
                    <a:ext uri="{FF2B5EF4-FFF2-40B4-BE49-F238E27FC236}">
                      <a16:creationId xmlns:a16="http://schemas.microsoft.com/office/drawing/2014/main" id="{3FE3DA3B-560F-DBF4-457F-75553F3F4E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82951" y="2930525"/>
                  <a:ext cx="28575" cy="25400"/>
                </a:xfrm>
                <a:custGeom>
                  <a:avLst/>
                  <a:gdLst>
                    <a:gd name="T0" fmla="*/ 4 w 7"/>
                    <a:gd name="T1" fmla="*/ 1 h 6"/>
                    <a:gd name="T2" fmla="*/ 1 w 7"/>
                    <a:gd name="T3" fmla="*/ 5 h 6"/>
                    <a:gd name="T4" fmla="*/ 5 w 7"/>
                    <a:gd name="T5" fmla="*/ 5 h 6"/>
                    <a:gd name="T6" fmla="*/ 6 w 7"/>
                    <a:gd name="T7" fmla="*/ 1 h 6"/>
                    <a:gd name="T8" fmla="*/ 4 w 7"/>
                    <a:gd name="T9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6">
                      <a:moveTo>
                        <a:pt x="4" y="1"/>
                      </a:moveTo>
                      <a:cubicBezTo>
                        <a:pt x="2" y="1"/>
                        <a:pt x="0" y="4"/>
                        <a:pt x="1" y="5"/>
                      </a:cubicBezTo>
                      <a:cubicBezTo>
                        <a:pt x="3" y="6"/>
                        <a:pt x="3" y="5"/>
                        <a:pt x="5" y="5"/>
                      </a:cubicBezTo>
                      <a:cubicBezTo>
                        <a:pt x="7" y="4"/>
                        <a:pt x="7" y="3"/>
                        <a:pt x="6" y="1"/>
                      </a:cubicBezTo>
                      <a:cubicBezTo>
                        <a:pt x="6" y="0"/>
                        <a:pt x="5" y="0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6" name="Freeform 34">
                  <a:extLst>
                    <a:ext uri="{FF2B5EF4-FFF2-40B4-BE49-F238E27FC236}">
                      <a16:creationId xmlns:a16="http://schemas.microsoft.com/office/drawing/2014/main" id="{D4039681-880A-AAB4-754F-693E91C276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82951" y="2894013"/>
                  <a:ext cx="41275" cy="28575"/>
                </a:xfrm>
                <a:custGeom>
                  <a:avLst/>
                  <a:gdLst>
                    <a:gd name="T0" fmla="*/ 7 w 10"/>
                    <a:gd name="T1" fmla="*/ 0 h 7"/>
                    <a:gd name="T2" fmla="*/ 4 w 10"/>
                    <a:gd name="T3" fmla="*/ 3 h 7"/>
                    <a:gd name="T4" fmla="*/ 2 w 10"/>
                    <a:gd name="T5" fmla="*/ 6 h 7"/>
                    <a:gd name="T6" fmla="*/ 7 w 10"/>
                    <a:gd name="T7" fmla="*/ 6 h 7"/>
                    <a:gd name="T8" fmla="*/ 10 w 10"/>
                    <a:gd name="T9" fmla="*/ 4 h 7"/>
                    <a:gd name="T10" fmla="*/ 7 w 10"/>
                    <a:gd name="T11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7">
                      <a:moveTo>
                        <a:pt x="7" y="0"/>
                      </a:moveTo>
                      <a:cubicBezTo>
                        <a:pt x="5" y="0"/>
                        <a:pt x="5" y="3"/>
                        <a:pt x="4" y="3"/>
                      </a:cubicBezTo>
                      <a:cubicBezTo>
                        <a:pt x="2" y="4"/>
                        <a:pt x="0" y="6"/>
                        <a:pt x="2" y="6"/>
                      </a:cubicBezTo>
                      <a:cubicBezTo>
                        <a:pt x="4" y="7"/>
                        <a:pt x="6" y="7"/>
                        <a:pt x="7" y="6"/>
                      </a:cubicBezTo>
                      <a:cubicBezTo>
                        <a:pt x="8" y="6"/>
                        <a:pt x="10" y="6"/>
                        <a:pt x="10" y="4"/>
                      </a:cubicBezTo>
                      <a:cubicBezTo>
                        <a:pt x="9" y="1"/>
                        <a:pt x="9" y="0"/>
                        <a:pt x="7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7" name="Freeform 35">
                  <a:extLst>
                    <a:ext uri="{FF2B5EF4-FFF2-40B4-BE49-F238E27FC236}">
                      <a16:creationId xmlns:a16="http://schemas.microsoft.com/office/drawing/2014/main" id="{39FE7A20-1801-0595-CA8C-9D61418CF52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11526" y="2914650"/>
                  <a:ext cx="30163" cy="38100"/>
                </a:xfrm>
                <a:custGeom>
                  <a:avLst/>
                  <a:gdLst>
                    <a:gd name="T0" fmla="*/ 5 w 7"/>
                    <a:gd name="T1" fmla="*/ 1 h 9"/>
                    <a:gd name="T2" fmla="*/ 1 w 7"/>
                    <a:gd name="T3" fmla="*/ 3 h 9"/>
                    <a:gd name="T4" fmla="*/ 1 w 7"/>
                    <a:gd name="T5" fmla="*/ 7 h 9"/>
                    <a:gd name="T6" fmla="*/ 5 w 7"/>
                    <a:gd name="T7" fmla="*/ 7 h 9"/>
                    <a:gd name="T8" fmla="*/ 5 w 7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9">
                      <a:moveTo>
                        <a:pt x="5" y="1"/>
                      </a:moveTo>
                      <a:cubicBezTo>
                        <a:pt x="4" y="0"/>
                        <a:pt x="1" y="2"/>
                        <a:pt x="1" y="3"/>
                      </a:cubicBezTo>
                      <a:cubicBezTo>
                        <a:pt x="0" y="4"/>
                        <a:pt x="0" y="5"/>
                        <a:pt x="1" y="7"/>
                      </a:cubicBezTo>
                      <a:cubicBezTo>
                        <a:pt x="2" y="8"/>
                        <a:pt x="4" y="9"/>
                        <a:pt x="5" y="7"/>
                      </a:cubicBezTo>
                      <a:cubicBezTo>
                        <a:pt x="7" y="6"/>
                        <a:pt x="7" y="1"/>
                        <a:pt x="5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8" name="Freeform 36">
                  <a:extLst>
                    <a:ext uri="{FF2B5EF4-FFF2-40B4-BE49-F238E27FC236}">
                      <a16:creationId xmlns:a16="http://schemas.microsoft.com/office/drawing/2014/main" id="{430F8E07-9975-FC27-F92B-2666BCE1C89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70276" y="2751138"/>
                  <a:ext cx="20638" cy="33338"/>
                </a:xfrm>
                <a:custGeom>
                  <a:avLst/>
                  <a:gdLst>
                    <a:gd name="T0" fmla="*/ 2 w 5"/>
                    <a:gd name="T1" fmla="*/ 0 h 8"/>
                    <a:gd name="T2" fmla="*/ 0 w 5"/>
                    <a:gd name="T3" fmla="*/ 4 h 8"/>
                    <a:gd name="T4" fmla="*/ 4 w 5"/>
                    <a:gd name="T5" fmla="*/ 7 h 8"/>
                    <a:gd name="T6" fmla="*/ 2 w 5"/>
                    <a:gd name="T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8">
                      <a:moveTo>
                        <a:pt x="2" y="0"/>
                      </a:moveTo>
                      <a:cubicBezTo>
                        <a:pt x="0" y="0"/>
                        <a:pt x="0" y="0"/>
                        <a:pt x="0" y="4"/>
                      </a:cubicBezTo>
                      <a:cubicBezTo>
                        <a:pt x="0" y="8"/>
                        <a:pt x="2" y="8"/>
                        <a:pt x="4" y="7"/>
                      </a:cubicBezTo>
                      <a:cubicBezTo>
                        <a:pt x="5" y="7"/>
                        <a:pt x="5" y="0"/>
                        <a:pt x="2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79" name="Freeform 37">
                  <a:extLst>
                    <a:ext uri="{FF2B5EF4-FFF2-40B4-BE49-F238E27FC236}">
                      <a16:creationId xmlns:a16="http://schemas.microsoft.com/office/drawing/2014/main" id="{B7D2E961-B07B-3A07-90BA-71AF15D6AAB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7739" y="2668588"/>
                  <a:ext cx="28575" cy="28575"/>
                </a:xfrm>
                <a:custGeom>
                  <a:avLst/>
                  <a:gdLst>
                    <a:gd name="T0" fmla="*/ 4 w 7"/>
                    <a:gd name="T1" fmla="*/ 1 h 7"/>
                    <a:gd name="T2" fmla="*/ 2 w 7"/>
                    <a:gd name="T3" fmla="*/ 5 h 7"/>
                    <a:gd name="T4" fmla="*/ 6 w 7"/>
                    <a:gd name="T5" fmla="*/ 3 h 7"/>
                    <a:gd name="T6" fmla="*/ 4 w 7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7">
                      <a:moveTo>
                        <a:pt x="4" y="1"/>
                      </a:moveTo>
                      <a:cubicBezTo>
                        <a:pt x="2" y="2"/>
                        <a:pt x="0" y="4"/>
                        <a:pt x="2" y="5"/>
                      </a:cubicBezTo>
                      <a:cubicBezTo>
                        <a:pt x="3" y="7"/>
                        <a:pt x="5" y="5"/>
                        <a:pt x="6" y="3"/>
                      </a:cubicBezTo>
                      <a:cubicBezTo>
                        <a:pt x="7" y="2"/>
                        <a:pt x="5" y="0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0" name="Freeform 38">
                  <a:extLst>
                    <a:ext uri="{FF2B5EF4-FFF2-40B4-BE49-F238E27FC236}">
                      <a16:creationId xmlns:a16="http://schemas.microsoft.com/office/drawing/2014/main" id="{A47F7C55-7326-2DAD-0C8D-EFA11BFDD01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03614" y="2581275"/>
                  <a:ext cx="17463" cy="33338"/>
                </a:xfrm>
                <a:custGeom>
                  <a:avLst/>
                  <a:gdLst>
                    <a:gd name="T0" fmla="*/ 1 w 4"/>
                    <a:gd name="T1" fmla="*/ 1 h 8"/>
                    <a:gd name="T2" fmla="*/ 0 w 4"/>
                    <a:gd name="T3" fmla="*/ 6 h 8"/>
                    <a:gd name="T4" fmla="*/ 4 w 4"/>
                    <a:gd name="T5" fmla="*/ 6 h 8"/>
                    <a:gd name="T6" fmla="*/ 1 w 4"/>
                    <a:gd name="T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8">
                      <a:moveTo>
                        <a:pt x="1" y="1"/>
                      </a:moveTo>
                      <a:cubicBezTo>
                        <a:pt x="0" y="2"/>
                        <a:pt x="0" y="4"/>
                        <a:pt x="0" y="6"/>
                      </a:cubicBezTo>
                      <a:cubicBezTo>
                        <a:pt x="1" y="8"/>
                        <a:pt x="3" y="8"/>
                        <a:pt x="4" y="6"/>
                      </a:cubicBezTo>
                      <a:cubicBezTo>
                        <a:pt x="4" y="4"/>
                        <a:pt x="3" y="0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1" name="Freeform 39">
                  <a:extLst>
                    <a:ext uri="{FF2B5EF4-FFF2-40B4-BE49-F238E27FC236}">
                      <a16:creationId xmlns:a16="http://schemas.microsoft.com/office/drawing/2014/main" id="{CE937C84-ADCA-530A-A994-185B845754A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41714" y="2501900"/>
                  <a:ext cx="20638" cy="28575"/>
                </a:xfrm>
                <a:custGeom>
                  <a:avLst/>
                  <a:gdLst>
                    <a:gd name="T0" fmla="*/ 2 w 5"/>
                    <a:gd name="T1" fmla="*/ 1 h 7"/>
                    <a:gd name="T2" fmla="*/ 0 w 5"/>
                    <a:gd name="T3" fmla="*/ 5 h 7"/>
                    <a:gd name="T4" fmla="*/ 3 w 5"/>
                    <a:gd name="T5" fmla="*/ 7 h 7"/>
                    <a:gd name="T6" fmla="*/ 4 w 5"/>
                    <a:gd name="T7" fmla="*/ 4 h 7"/>
                    <a:gd name="T8" fmla="*/ 2 w 5"/>
                    <a:gd name="T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2" y="1"/>
                      </a:moveTo>
                      <a:cubicBezTo>
                        <a:pt x="0" y="0"/>
                        <a:pt x="0" y="2"/>
                        <a:pt x="0" y="5"/>
                      </a:cubicBezTo>
                      <a:cubicBezTo>
                        <a:pt x="1" y="7"/>
                        <a:pt x="2" y="7"/>
                        <a:pt x="3" y="7"/>
                      </a:cubicBezTo>
                      <a:cubicBezTo>
                        <a:pt x="4" y="6"/>
                        <a:pt x="5" y="5"/>
                        <a:pt x="4" y="4"/>
                      </a:cubicBezTo>
                      <a:cubicBezTo>
                        <a:pt x="4" y="3"/>
                        <a:pt x="3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2" name="Freeform 40">
                  <a:extLst>
                    <a:ext uri="{FF2B5EF4-FFF2-40B4-BE49-F238E27FC236}">
                      <a16:creationId xmlns:a16="http://schemas.microsoft.com/office/drawing/2014/main" id="{9A23B600-A688-0441-B322-6A700B4515A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36951" y="2525713"/>
                  <a:ext cx="33338" cy="42863"/>
                </a:xfrm>
                <a:custGeom>
                  <a:avLst/>
                  <a:gdLst>
                    <a:gd name="T0" fmla="*/ 7 w 8"/>
                    <a:gd name="T1" fmla="*/ 1 h 10"/>
                    <a:gd name="T2" fmla="*/ 3 w 8"/>
                    <a:gd name="T3" fmla="*/ 4 h 10"/>
                    <a:gd name="T4" fmla="*/ 1 w 8"/>
                    <a:gd name="T5" fmla="*/ 9 h 10"/>
                    <a:gd name="T6" fmla="*/ 6 w 8"/>
                    <a:gd name="T7" fmla="*/ 4 h 10"/>
                    <a:gd name="T8" fmla="*/ 7 w 8"/>
                    <a:gd name="T9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7" y="1"/>
                      </a:moveTo>
                      <a:cubicBezTo>
                        <a:pt x="5" y="0"/>
                        <a:pt x="4" y="3"/>
                        <a:pt x="3" y="4"/>
                      </a:cubicBezTo>
                      <a:cubicBezTo>
                        <a:pt x="1" y="6"/>
                        <a:pt x="0" y="10"/>
                        <a:pt x="1" y="9"/>
                      </a:cubicBezTo>
                      <a:cubicBezTo>
                        <a:pt x="3" y="8"/>
                        <a:pt x="4" y="5"/>
                        <a:pt x="6" y="4"/>
                      </a:cubicBezTo>
                      <a:cubicBezTo>
                        <a:pt x="8" y="2"/>
                        <a:pt x="7" y="1"/>
                        <a:pt x="7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3" name="Freeform 41">
                  <a:extLst>
                    <a:ext uri="{FF2B5EF4-FFF2-40B4-BE49-F238E27FC236}">
                      <a16:creationId xmlns:a16="http://schemas.microsoft.com/office/drawing/2014/main" id="{9B720287-C5C7-5F4A-8240-CDDD0A9BEC2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36964" y="2343150"/>
                  <a:ext cx="22225" cy="28575"/>
                </a:xfrm>
                <a:custGeom>
                  <a:avLst/>
                  <a:gdLst>
                    <a:gd name="T0" fmla="*/ 3 w 5"/>
                    <a:gd name="T1" fmla="*/ 1 h 7"/>
                    <a:gd name="T2" fmla="*/ 1 w 5"/>
                    <a:gd name="T3" fmla="*/ 5 h 7"/>
                    <a:gd name="T4" fmla="*/ 4 w 5"/>
                    <a:gd name="T5" fmla="*/ 3 h 7"/>
                    <a:gd name="T6" fmla="*/ 3 w 5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7">
                      <a:moveTo>
                        <a:pt x="3" y="1"/>
                      </a:moveTo>
                      <a:cubicBezTo>
                        <a:pt x="1" y="1"/>
                        <a:pt x="0" y="3"/>
                        <a:pt x="1" y="5"/>
                      </a:cubicBezTo>
                      <a:cubicBezTo>
                        <a:pt x="3" y="7"/>
                        <a:pt x="4" y="5"/>
                        <a:pt x="4" y="3"/>
                      </a:cubicBezTo>
                      <a:cubicBezTo>
                        <a:pt x="5" y="2"/>
                        <a:pt x="4" y="0"/>
                        <a:pt x="3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4" name="Freeform 42">
                  <a:extLst>
                    <a:ext uri="{FF2B5EF4-FFF2-40B4-BE49-F238E27FC236}">
                      <a16:creationId xmlns:a16="http://schemas.microsoft.com/office/drawing/2014/main" id="{2F640BC1-6BE4-B507-B16C-F92BD0B3A02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08401" y="2184400"/>
                  <a:ext cx="41275" cy="33338"/>
                </a:xfrm>
                <a:custGeom>
                  <a:avLst/>
                  <a:gdLst>
                    <a:gd name="T0" fmla="*/ 6 w 10"/>
                    <a:gd name="T1" fmla="*/ 1 h 8"/>
                    <a:gd name="T2" fmla="*/ 2 w 10"/>
                    <a:gd name="T3" fmla="*/ 6 h 8"/>
                    <a:gd name="T4" fmla="*/ 9 w 10"/>
                    <a:gd name="T5" fmla="*/ 7 h 8"/>
                    <a:gd name="T6" fmla="*/ 6 w 10"/>
                    <a:gd name="T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8">
                      <a:moveTo>
                        <a:pt x="6" y="1"/>
                      </a:moveTo>
                      <a:cubicBezTo>
                        <a:pt x="4" y="0"/>
                        <a:pt x="0" y="5"/>
                        <a:pt x="2" y="6"/>
                      </a:cubicBezTo>
                      <a:cubicBezTo>
                        <a:pt x="4" y="7"/>
                        <a:pt x="7" y="8"/>
                        <a:pt x="9" y="7"/>
                      </a:cubicBezTo>
                      <a:cubicBezTo>
                        <a:pt x="10" y="7"/>
                        <a:pt x="7" y="1"/>
                        <a:pt x="6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5" name="Freeform 43">
                  <a:extLst>
                    <a:ext uri="{FF2B5EF4-FFF2-40B4-BE49-F238E27FC236}">
                      <a16:creationId xmlns:a16="http://schemas.microsoft.com/office/drawing/2014/main" id="{F51C5335-A113-3E6D-2F75-A8A9893E5B2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54414" y="2197100"/>
                  <a:ext cx="20638" cy="53975"/>
                </a:xfrm>
                <a:custGeom>
                  <a:avLst/>
                  <a:gdLst>
                    <a:gd name="T0" fmla="*/ 4 w 5"/>
                    <a:gd name="T1" fmla="*/ 0 h 13"/>
                    <a:gd name="T2" fmla="*/ 0 w 5"/>
                    <a:gd name="T3" fmla="*/ 6 h 13"/>
                    <a:gd name="T4" fmla="*/ 3 w 5"/>
                    <a:gd name="T5" fmla="*/ 9 h 13"/>
                    <a:gd name="T6" fmla="*/ 5 w 5"/>
                    <a:gd name="T7" fmla="*/ 3 h 13"/>
                    <a:gd name="T8" fmla="*/ 4 w 5"/>
                    <a:gd name="T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3">
                      <a:moveTo>
                        <a:pt x="4" y="0"/>
                      </a:moveTo>
                      <a:cubicBezTo>
                        <a:pt x="2" y="0"/>
                        <a:pt x="1" y="2"/>
                        <a:pt x="0" y="6"/>
                      </a:cubicBezTo>
                      <a:cubicBezTo>
                        <a:pt x="0" y="10"/>
                        <a:pt x="1" y="13"/>
                        <a:pt x="3" y="9"/>
                      </a:cubicBezTo>
                      <a:cubicBezTo>
                        <a:pt x="4" y="6"/>
                        <a:pt x="5" y="5"/>
                        <a:pt x="5" y="3"/>
                      </a:cubicBezTo>
                      <a:cubicBezTo>
                        <a:pt x="5" y="1"/>
                        <a:pt x="4" y="0"/>
                        <a:pt x="4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6" name="Freeform 44">
                  <a:extLst>
                    <a:ext uri="{FF2B5EF4-FFF2-40B4-BE49-F238E27FC236}">
                      <a16:creationId xmlns:a16="http://schemas.microsoft.com/office/drawing/2014/main" id="{A35056E0-8705-A7D4-0C86-5883F93FE9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75051" y="2179638"/>
                  <a:ext cx="20638" cy="38100"/>
                </a:xfrm>
                <a:custGeom>
                  <a:avLst/>
                  <a:gdLst>
                    <a:gd name="T0" fmla="*/ 2 w 5"/>
                    <a:gd name="T1" fmla="*/ 1 h 9"/>
                    <a:gd name="T2" fmla="*/ 1 w 5"/>
                    <a:gd name="T3" fmla="*/ 6 h 9"/>
                    <a:gd name="T4" fmla="*/ 3 w 5"/>
                    <a:gd name="T5" fmla="*/ 7 h 9"/>
                    <a:gd name="T6" fmla="*/ 2 w 5"/>
                    <a:gd name="T7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9">
                      <a:moveTo>
                        <a:pt x="2" y="1"/>
                      </a:moveTo>
                      <a:cubicBezTo>
                        <a:pt x="1" y="1"/>
                        <a:pt x="1" y="4"/>
                        <a:pt x="1" y="6"/>
                      </a:cubicBezTo>
                      <a:cubicBezTo>
                        <a:pt x="0" y="9"/>
                        <a:pt x="2" y="9"/>
                        <a:pt x="3" y="7"/>
                      </a:cubicBezTo>
                      <a:cubicBezTo>
                        <a:pt x="5" y="5"/>
                        <a:pt x="4" y="0"/>
                        <a:pt x="2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7" name="Freeform 45">
                  <a:extLst>
                    <a:ext uri="{FF2B5EF4-FFF2-40B4-BE49-F238E27FC236}">
                      <a16:creationId xmlns:a16="http://schemas.microsoft.com/office/drawing/2014/main" id="{A63A8BFB-B6CF-138E-E9B8-6B3FC5E036A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95689" y="2155825"/>
                  <a:ext cx="41275" cy="49213"/>
                </a:xfrm>
                <a:custGeom>
                  <a:avLst/>
                  <a:gdLst>
                    <a:gd name="T0" fmla="*/ 2 w 10"/>
                    <a:gd name="T1" fmla="*/ 3 h 12"/>
                    <a:gd name="T2" fmla="*/ 0 w 10"/>
                    <a:gd name="T3" fmla="*/ 9 h 12"/>
                    <a:gd name="T4" fmla="*/ 3 w 10"/>
                    <a:gd name="T5" fmla="*/ 10 h 12"/>
                    <a:gd name="T6" fmla="*/ 9 w 10"/>
                    <a:gd name="T7" fmla="*/ 7 h 12"/>
                    <a:gd name="T8" fmla="*/ 8 w 10"/>
                    <a:gd name="T9" fmla="*/ 3 h 12"/>
                    <a:gd name="T10" fmla="*/ 5 w 10"/>
                    <a:gd name="T11" fmla="*/ 1 h 12"/>
                    <a:gd name="T12" fmla="*/ 2 w 10"/>
                    <a:gd name="T13" fmla="*/ 3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2">
                      <a:moveTo>
                        <a:pt x="2" y="3"/>
                      </a:moveTo>
                      <a:cubicBezTo>
                        <a:pt x="1" y="5"/>
                        <a:pt x="1" y="6"/>
                        <a:pt x="0" y="9"/>
                      </a:cubicBezTo>
                      <a:cubicBezTo>
                        <a:pt x="0" y="12"/>
                        <a:pt x="2" y="12"/>
                        <a:pt x="3" y="10"/>
                      </a:cubicBezTo>
                      <a:cubicBezTo>
                        <a:pt x="5" y="9"/>
                        <a:pt x="7" y="8"/>
                        <a:pt x="9" y="7"/>
                      </a:cubicBezTo>
                      <a:cubicBezTo>
                        <a:pt x="10" y="6"/>
                        <a:pt x="8" y="4"/>
                        <a:pt x="8" y="3"/>
                      </a:cubicBezTo>
                      <a:cubicBezTo>
                        <a:pt x="7" y="1"/>
                        <a:pt x="7" y="0"/>
                        <a:pt x="5" y="1"/>
                      </a:cubicBezTo>
                      <a:cubicBezTo>
                        <a:pt x="3" y="2"/>
                        <a:pt x="2" y="3"/>
                        <a:pt x="2" y="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8" name="Freeform 46">
                  <a:extLst>
                    <a:ext uri="{FF2B5EF4-FFF2-40B4-BE49-F238E27FC236}">
                      <a16:creationId xmlns:a16="http://schemas.microsoft.com/office/drawing/2014/main" id="{50674C35-54B1-33F9-E47F-A19962B8171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29026" y="1997075"/>
                  <a:ext cx="166688" cy="187325"/>
                </a:xfrm>
                <a:custGeom>
                  <a:avLst/>
                  <a:gdLst>
                    <a:gd name="T0" fmla="*/ 2 w 40"/>
                    <a:gd name="T1" fmla="*/ 37 h 45"/>
                    <a:gd name="T2" fmla="*/ 1 w 40"/>
                    <a:gd name="T3" fmla="*/ 43 h 45"/>
                    <a:gd name="T4" fmla="*/ 3 w 40"/>
                    <a:gd name="T5" fmla="*/ 43 h 45"/>
                    <a:gd name="T6" fmla="*/ 7 w 40"/>
                    <a:gd name="T7" fmla="*/ 44 h 45"/>
                    <a:gd name="T8" fmla="*/ 11 w 40"/>
                    <a:gd name="T9" fmla="*/ 40 h 45"/>
                    <a:gd name="T10" fmla="*/ 14 w 40"/>
                    <a:gd name="T11" fmla="*/ 41 h 45"/>
                    <a:gd name="T12" fmla="*/ 16 w 40"/>
                    <a:gd name="T13" fmla="*/ 33 h 45"/>
                    <a:gd name="T14" fmla="*/ 11 w 40"/>
                    <a:gd name="T15" fmla="*/ 35 h 45"/>
                    <a:gd name="T16" fmla="*/ 14 w 40"/>
                    <a:gd name="T17" fmla="*/ 30 h 45"/>
                    <a:gd name="T18" fmla="*/ 18 w 40"/>
                    <a:gd name="T19" fmla="*/ 32 h 45"/>
                    <a:gd name="T20" fmla="*/ 17 w 40"/>
                    <a:gd name="T21" fmla="*/ 37 h 45"/>
                    <a:gd name="T22" fmla="*/ 17 w 40"/>
                    <a:gd name="T23" fmla="*/ 42 h 45"/>
                    <a:gd name="T24" fmla="*/ 21 w 40"/>
                    <a:gd name="T25" fmla="*/ 37 h 45"/>
                    <a:gd name="T26" fmla="*/ 26 w 40"/>
                    <a:gd name="T27" fmla="*/ 40 h 45"/>
                    <a:gd name="T28" fmla="*/ 27 w 40"/>
                    <a:gd name="T29" fmla="*/ 34 h 45"/>
                    <a:gd name="T30" fmla="*/ 29 w 40"/>
                    <a:gd name="T31" fmla="*/ 37 h 45"/>
                    <a:gd name="T32" fmla="*/ 32 w 40"/>
                    <a:gd name="T33" fmla="*/ 32 h 45"/>
                    <a:gd name="T34" fmla="*/ 34 w 40"/>
                    <a:gd name="T35" fmla="*/ 31 h 45"/>
                    <a:gd name="T36" fmla="*/ 33 w 40"/>
                    <a:gd name="T37" fmla="*/ 34 h 45"/>
                    <a:gd name="T38" fmla="*/ 36 w 40"/>
                    <a:gd name="T39" fmla="*/ 36 h 45"/>
                    <a:gd name="T40" fmla="*/ 38 w 40"/>
                    <a:gd name="T41" fmla="*/ 30 h 45"/>
                    <a:gd name="T42" fmla="*/ 39 w 40"/>
                    <a:gd name="T43" fmla="*/ 24 h 45"/>
                    <a:gd name="T44" fmla="*/ 38 w 40"/>
                    <a:gd name="T45" fmla="*/ 16 h 45"/>
                    <a:gd name="T46" fmla="*/ 36 w 40"/>
                    <a:gd name="T47" fmla="*/ 14 h 45"/>
                    <a:gd name="T48" fmla="*/ 34 w 40"/>
                    <a:gd name="T49" fmla="*/ 17 h 45"/>
                    <a:gd name="T50" fmla="*/ 32 w 40"/>
                    <a:gd name="T51" fmla="*/ 22 h 45"/>
                    <a:gd name="T52" fmla="*/ 29 w 40"/>
                    <a:gd name="T53" fmla="*/ 24 h 45"/>
                    <a:gd name="T54" fmla="*/ 26 w 40"/>
                    <a:gd name="T55" fmla="*/ 29 h 45"/>
                    <a:gd name="T56" fmla="*/ 29 w 40"/>
                    <a:gd name="T57" fmla="*/ 21 h 45"/>
                    <a:gd name="T58" fmla="*/ 28 w 40"/>
                    <a:gd name="T59" fmla="*/ 18 h 45"/>
                    <a:gd name="T60" fmla="*/ 26 w 40"/>
                    <a:gd name="T61" fmla="*/ 13 h 45"/>
                    <a:gd name="T62" fmla="*/ 24 w 40"/>
                    <a:gd name="T63" fmla="*/ 14 h 45"/>
                    <a:gd name="T64" fmla="*/ 30 w 40"/>
                    <a:gd name="T65" fmla="*/ 6 h 45"/>
                    <a:gd name="T66" fmla="*/ 29 w 40"/>
                    <a:gd name="T67" fmla="*/ 1 h 45"/>
                    <a:gd name="T68" fmla="*/ 27 w 40"/>
                    <a:gd name="T69" fmla="*/ 2 h 45"/>
                    <a:gd name="T70" fmla="*/ 25 w 40"/>
                    <a:gd name="T71" fmla="*/ 7 h 45"/>
                    <a:gd name="T72" fmla="*/ 22 w 40"/>
                    <a:gd name="T73" fmla="*/ 9 h 45"/>
                    <a:gd name="T74" fmla="*/ 20 w 40"/>
                    <a:gd name="T75" fmla="*/ 13 h 45"/>
                    <a:gd name="T76" fmla="*/ 23 w 40"/>
                    <a:gd name="T77" fmla="*/ 16 h 45"/>
                    <a:gd name="T78" fmla="*/ 23 w 40"/>
                    <a:gd name="T79" fmla="*/ 22 h 45"/>
                    <a:gd name="T80" fmla="*/ 24 w 40"/>
                    <a:gd name="T81" fmla="*/ 24 h 45"/>
                    <a:gd name="T82" fmla="*/ 20 w 40"/>
                    <a:gd name="T83" fmla="*/ 27 h 45"/>
                    <a:gd name="T84" fmla="*/ 19 w 40"/>
                    <a:gd name="T85" fmla="*/ 30 h 45"/>
                    <a:gd name="T86" fmla="*/ 19 w 40"/>
                    <a:gd name="T87" fmla="*/ 23 h 45"/>
                    <a:gd name="T88" fmla="*/ 17 w 40"/>
                    <a:gd name="T89" fmla="*/ 14 h 45"/>
                    <a:gd name="T90" fmla="*/ 14 w 40"/>
                    <a:gd name="T91" fmla="*/ 12 h 45"/>
                    <a:gd name="T92" fmla="*/ 14 w 40"/>
                    <a:gd name="T93" fmla="*/ 18 h 45"/>
                    <a:gd name="T94" fmla="*/ 12 w 40"/>
                    <a:gd name="T95" fmla="*/ 15 h 45"/>
                    <a:gd name="T96" fmla="*/ 11 w 40"/>
                    <a:gd name="T97" fmla="*/ 17 h 45"/>
                    <a:gd name="T98" fmla="*/ 10 w 40"/>
                    <a:gd name="T99" fmla="*/ 20 h 45"/>
                    <a:gd name="T100" fmla="*/ 7 w 40"/>
                    <a:gd name="T101" fmla="*/ 21 h 45"/>
                    <a:gd name="T102" fmla="*/ 5 w 40"/>
                    <a:gd name="T103" fmla="*/ 26 h 45"/>
                    <a:gd name="T104" fmla="*/ 8 w 40"/>
                    <a:gd name="T105" fmla="*/ 28 h 45"/>
                    <a:gd name="T106" fmla="*/ 12 w 40"/>
                    <a:gd name="T107" fmla="*/ 24 h 45"/>
                    <a:gd name="T108" fmla="*/ 15 w 40"/>
                    <a:gd name="T109" fmla="*/ 24 h 45"/>
                    <a:gd name="T110" fmla="*/ 12 w 40"/>
                    <a:gd name="T111" fmla="*/ 27 h 45"/>
                    <a:gd name="T112" fmla="*/ 9 w 40"/>
                    <a:gd name="T113" fmla="*/ 31 h 45"/>
                    <a:gd name="T114" fmla="*/ 11 w 40"/>
                    <a:gd name="T115" fmla="*/ 32 h 45"/>
                    <a:gd name="T116" fmla="*/ 9 w 40"/>
                    <a:gd name="T117" fmla="*/ 35 h 45"/>
                    <a:gd name="T118" fmla="*/ 6 w 40"/>
                    <a:gd name="T119" fmla="*/ 37 h 45"/>
                    <a:gd name="T120" fmla="*/ 5 w 40"/>
                    <a:gd name="T121" fmla="*/ 41 h 45"/>
                    <a:gd name="T122" fmla="*/ 2 w 40"/>
                    <a:gd name="T123" fmla="*/ 37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0" h="45">
                      <a:moveTo>
                        <a:pt x="2" y="37"/>
                      </a:moveTo>
                      <a:cubicBezTo>
                        <a:pt x="1" y="37"/>
                        <a:pt x="0" y="42"/>
                        <a:pt x="1" y="43"/>
                      </a:cubicBezTo>
                      <a:cubicBezTo>
                        <a:pt x="1" y="44"/>
                        <a:pt x="2" y="41"/>
                        <a:pt x="3" y="43"/>
                      </a:cubicBezTo>
                      <a:cubicBezTo>
                        <a:pt x="5" y="45"/>
                        <a:pt x="5" y="45"/>
                        <a:pt x="7" y="44"/>
                      </a:cubicBezTo>
                      <a:cubicBezTo>
                        <a:pt x="9" y="42"/>
                        <a:pt x="9" y="38"/>
                        <a:pt x="11" y="40"/>
                      </a:cubicBezTo>
                      <a:cubicBezTo>
                        <a:pt x="12" y="42"/>
                        <a:pt x="13" y="43"/>
                        <a:pt x="14" y="41"/>
                      </a:cubicBezTo>
                      <a:cubicBezTo>
                        <a:pt x="15" y="38"/>
                        <a:pt x="18" y="33"/>
                        <a:pt x="16" y="33"/>
                      </a:cubicBezTo>
                      <a:cubicBezTo>
                        <a:pt x="13" y="33"/>
                        <a:pt x="11" y="37"/>
                        <a:pt x="11" y="35"/>
                      </a:cubicBezTo>
                      <a:cubicBezTo>
                        <a:pt x="12" y="32"/>
                        <a:pt x="13" y="32"/>
                        <a:pt x="14" y="30"/>
                      </a:cubicBezTo>
                      <a:cubicBezTo>
                        <a:pt x="16" y="29"/>
                        <a:pt x="18" y="31"/>
                        <a:pt x="18" y="32"/>
                      </a:cubicBezTo>
                      <a:cubicBezTo>
                        <a:pt x="18" y="34"/>
                        <a:pt x="19" y="34"/>
                        <a:pt x="17" y="37"/>
                      </a:cubicBezTo>
                      <a:cubicBezTo>
                        <a:pt x="16" y="39"/>
                        <a:pt x="16" y="43"/>
                        <a:pt x="17" y="42"/>
                      </a:cubicBezTo>
                      <a:cubicBezTo>
                        <a:pt x="18" y="40"/>
                        <a:pt x="21" y="34"/>
                        <a:pt x="21" y="37"/>
                      </a:cubicBezTo>
                      <a:cubicBezTo>
                        <a:pt x="21" y="40"/>
                        <a:pt x="24" y="41"/>
                        <a:pt x="26" y="40"/>
                      </a:cubicBezTo>
                      <a:cubicBezTo>
                        <a:pt x="27" y="38"/>
                        <a:pt x="26" y="37"/>
                        <a:pt x="27" y="34"/>
                      </a:cubicBezTo>
                      <a:cubicBezTo>
                        <a:pt x="28" y="32"/>
                        <a:pt x="28" y="38"/>
                        <a:pt x="29" y="37"/>
                      </a:cubicBezTo>
                      <a:cubicBezTo>
                        <a:pt x="30" y="37"/>
                        <a:pt x="32" y="34"/>
                        <a:pt x="32" y="32"/>
                      </a:cubicBezTo>
                      <a:cubicBezTo>
                        <a:pt x="33" y="30"/>
                        <a:pt x="35" y="30"/>
                        <a:pt x="34" y="31"/>
                      </a:cubicBezTo>
                      <a:cubicBezTo>
                        <a:pt x="34" y="31"/>
                        <a:pt x="32" y="32"/>
                        <a:pt x="33" y="34"/>
                      </a:cubicBezTo>
                      <a:cubicBezTo>
                        <a:pt x="34" y="37"/>
                        <a:pt x="35" y="37"/>
                        <a:pt x="36" y="36"/>
                      </a:cubicBezTo>
                      <a:cubicBezTo>
                        <a:pt x="38" y="34"/>
                        <a:pt x="37" y="33"/>
                        <a:pt x="38" y="30"/>
                      </a:cubicBezTo>
                      <a:cubicBezTo>
                        <a:pt x="40" y="28"/>
                        <a:pt x="39" y="26"/>
                        <a:pt x="39" y="24"/>
                      </a:cubicBezTo>
                      <a:cubicBezTo>
                        <a:pt x="38" y="21"/>
                        <a:pt x="37" y="20"/>
                        <a:pt x="38" y="16"/>
                      </a:cubicBezTo>
                      <a:cubicBezTo>
                        <a:pt x="39" y="13"/>
                        <a:pt x="38" y="14"/>
                        <a:pt x="36" y="14"/>
                      </a:cubicBezTo>
                      <a:cubicBezTo>
                        <a:pt x="35" y="15"/>
                        <a:pt x="35" y="15"/>
                        <a:pt x="34" y="17"/>
                      </a:cubicBezTo>
                      <a:cubicBezTo>
                        <a:pt x="33" y="18"/>
                        <a:pt x="32" y="20"/>
                        <a:pt x="32" y="22"/>
                      </a:cubicBezTo>
                      <a:cubicBezTo>
                        <a:pt x="32" y="24"/>
                        <a:pt x="30" y="22"/>
                        <a:pt x="29" y="24"/>
                      </a:cubicBezTo>
                      <a:cubicBezTo>
                        <a:pt x="28" y="25"/>
                        <a:pt x="26" y="33"/>
                        <a:pt x="26" y="29"/>
                      </a:cubicBezTo>
                      <a:cubicBezTo>
                        <a:pt x="27" y="25"/>
                        <a:pt x="30" y="23"/>
                        <a:pt x="29" y="21"/>
                      </a:cubicBezTo>
                      <a:cubicBezTo>
                        <a:pt x="28" y="20"/>
                        <a:pt x="27" y="21"/>
                        <a:pt x="28" y="18"/>
                      </a:cubicBezTo>
                      <a:cubicBezTo>
                        <a:pt x="28" y="14"/>
                        <a:pt x="28" y="13"/>
                        <a:pt x="26" y="13"/>
                      </a:cubicBezTo>
                      <a:cubicBezTo>
                        <a:pt x="25" y="13"/>
                        <a:pt x="22" y="15"/>
                        <a:pt x="24" y="14"/>
                      </a:cubicBezTo>
                      <a:cubicBezTo>
                        <a:pt x="25" y="12"/>
                        <a:pt x="29" y="9"/>
                        <a:pt x="30" y="6"/>
                      </a:cubicBezTo>
                      <a:cubicBezTo>
                        <a:pt x="31" y="4"/>
                        <a:pt x="30" y="1"/>
                        <a:pt x="29" y="1"/>
                      </a:cubicBezTo>
                      <a:cubicBezTo>
                        <a:pt x="29" y="1"/>
                        <a:pt x="29" y="0"/>
                        <a:pt x="27" y="2"/>
                      </a:cubicBezTo>
                      <a:cubicBezTo>
                        <a:pt x="26" y="4"/>
                        <a:pt x="25" y="5"/>
                        <a:pt x="25" y="7"/>
                      </a:cubicBezTo>
                      <a:cubicBezTo>
                        <a:pt x="24" y="8"/>
                        <a:pt x="23" y="7"/>
                        <a:pt x="22" y="9"/>
                      </a:cubicBezTo>
                      <a:cubicBezTo>
                        <a:pt x="21" y="11"/>
                        <a:pt x="20" y="11"/>
                        <a:pt x="20" y="13"/>
                      </a:cubicBezTo>
                      <a:cubicBezTo>
                        <a:pt x="21" y="15"/>
                        <a:pt x="22" y="15"/>
                        <a:pt x="23" y="16"/>
                      </a:cubicBezTo>
                      <a:cubicBezTo>
                        <a:pt x="23" y="18"/>
                        <a:pt x="23" y="21"/>
                        <a:pt x="23" y="22"/>
                      </a:cubicBezTo>
                      <a:cubicBezTo>
                        <a:pt x="22" y="22"/>
                        <a:pt x="24" y="24"/>
                        <a:pt x="24" y="24"/>
                      </a:cubicBezTo>
                      <a:cubicBezTo>
                        <a:pt x="24" y="24"/>
                        <a:pt x="20" y="24"/>
                        <a:pt x="20" y="27"/>
                      </a:cubicBezTo>
                      <a:cubicBezTo>
                        <a:pt x="21" y="30"/>
                        <a:pt x="20" y="31"/>
                        <a:pt x="19" y="30"/>
                      </a:cubicBezTo>
                      <a:cubicBezTo>
                        <a:pt x="18" y="29"/>
                        <a:pt x="18" y="27"/>
                        <a:pt x="19" y="23"/>
                      </a:cubicBezTo>
                      <a:cubicBezTo>
                        <a:pt x="19" y="18"/>
                        <a:pt x="18" y="16"/>
                        <a:pt x="17" y="14"/>
                      </a:cubicBezTo>
                      <a:cubicBezTo>
                        <a:pt x="16" y="13"/>
                        <a:pt x="14" y="9"/>
                        <a:pt x="14" y="12"/>
                      </a:cubicBezTo>
                      <a:cubicBezTo>
                        <a:pt x="14" y="15"/>
                        <a:pt x="15" y="17"/>
                        <a:pt x="14" y="18"/>
                      </a:cubicBezTo>
                      <a:cubicBezTo>
                        <a:pt x="13" y="19"/>
                        <a:pt x="13" y="17"/>
                        <a:pt x="12" y="15"/>
                      </a:cubicBezTo>
                      <a:cubicBezTo>
                        <a:pt x="12" y="13"/>
                        <a:pt x="10" y="14"/>
                        <a:pt x="11" y="17"/>
                      </a:cubicBezTo>
                      <a:cubicBezTo>
                        <a:pt x="11" y="19"/>
                        <a:pt x="11" y="22"/>
                        <a:pt x="10" y="20"/>
                      </a:cubicBezTo>
                      <a:cubicBezTo>
                        <a:pt x="8" y="19"/>
                        <a:pt x="8" y="20"/>
                        <a:pt x="7" y="21"/>
                      </a:cubicBezTo>
                      <a:cubicBezTo>
                        <a:pt x="6" y="22"/>
                        <a:pt x="4" y="24"/>
                        <a:pt x="5" y="26"/>
                      </a:cubicBezTo>
                      <a:cubicBezTo>
                        <a:pt x="5" y="28"/>
                        <a:pt x="7" y="30"/>
                        <a:pt x="8" y="28"/>
                      </a:cubicBezTo>
                      <a:cubicBezTo>
                        <a:pt x="9" y="26"/>
                        <a:pt x="10" y="24"/>
                        <a:pt x="12" y="24"/>
                      </a:cubicBezTo>
                      <a:cubicBezTo>
                        <a:pt x="14" y="23"/>
                        <a:pt x="16" y="22"/>
                        <a:pt x="15" y="24"/>
                      </a:cubicBezTo>
                      <a:cubicBezTo>
                        <a:pt x="14" y="25"/>
                        <a:pt x="13" y="25"/>
                        <a:pt x="12" y="27"/>
                      </a:cubicBezTo>
                      <a:cubicBezTo>
                        <a:pt x="10" y="29"/>
                        <a:pt x="8" y="30"/>
                        <a:pt x="9" y="31"/>
                      </a:cubicBezTo>
                      <a:cubicBezTo>
                        <a:pt x="9" y="32"/>
                        <a:pt x="10" y="31"/>
                        <a:pt x="11" y="32"/>
                      </a:cubicBezTo>
                      <a:cubicBezTo>
                        <a:pt x="11" y="33"/>
                        <a:pt x="11" y="34"/>
                        <a:pt x="9" y="35"/>
                      </a:cubicBezTo>
                      <a:cubicBezTo>
                        <a:pt x="8" y="35"/>
                        <a:pt x="7" y="35"/>
                        <a:pt x="6" y="37"/>
                      </a:cubicBezTo>
                      <a:cubicBezTo>
                        <a:pt x="6" y="39"/>
                        <a:pt x="6" y="41"/>
                        <a:pt x="5" y="41"/>
                      </a:cubicBezTo>
                      <a:cubicBezTo>
                        <a:pt x="4" y="41"/>
                        <a:pt x="3" y="38"/>
                        <a:pt x="2" y="37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89" name="Freeform 47">
                  <a:extLst>
                    <a:ext uri="{FF2B5EF4-FFF2-40B4-BE49-F238E27FC236}">
                      <a16:creationId xmlns:a16="http://schemas.microsoft.com/office/drawing/2014/main" id="{806FF853-0A75-F8F7-5E96-F747674AA86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00476" y="1954213"/>
                  <a:ext cx="79375" cy="88900"/>
                </a:xfrm>
                <a:custGeom>
                  <a:avLst/>
                  <a:gdLst>
                    <a:gd name="T0" fmla="*/ 17 w 19"/>
                    <a:gd name="T1" fmla="*/ 6 h 21"/>
                    <a:gd name="T2" fmla="*/ 12 w 19"/>
                    <a:gd name="T3" fmla="*/ 1 h 21"/>
                    <a:gd name="T4" fmla="*/ 10 w 19"/>
                    <a:gd name="T5" fmla="*/ 3 h 21"/>
                    <a:gd name="T6" fmla="*/ 6 w 19"/>
                    <a:gd name="T7" fmla="*/ 7 h 21"/>
                    <a:gd name="T8" fmla="*/ 2 w 19"/>
                    <a:gd name="T9" fmla="*/ 8 h 21"/>
                    <a:gd name="T10" fmla="*/ 1 w 19"/>
                    <a:gd name="T11" fmla="*/ 9 h 21"/>
                    <a:gd name="T12" fmla="*/ 3 w 19"/>
                    <a:gd name="T13" fmla="*/ 12 h 21"/>
                    <a:gd name="T14" fmla="*/ 3 w 19"/>
                    <a:gd name="T15" fmla="*/ 18 h 21"/>
                    <a:gd name="T16" fmla="*/ 3 w 19"/>
                    <a:gd name="T17" fmla="*/ 21 h 21"/>
                    <a:gd name="T18" fmla="*/ 8 w 19"/>
                    <a:gd name="T19" fmla="*/ 18 h 21"/>
                    <a:gd name="T20" fmla="*/ 14 w 19"/>
                    <a:gd name="T21" fmla="*/ 16 h 21"/>
                    <a:gd name="T22" fmla="*/ 17 w 19"/>
                    <a:gd name="T23" fmla="*/ 14 h 21"/>
                    <a:gd name="T24" fmla="*/ 18 w 19"/>
                    <a:gd name="T25" fmla="*/ 9 h 21"/>
                    <a:gd name="T26" fmla="*/ 17 w 19"/>
                    <a:gd name="T27" fmla="*/ 6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21">
                      <a:moveTo>
                        <a:pt x="17" y="6"/>
                      </a:moveTo>
                      <a:cubicBezTo>
                        <a:pt x="16" y="4"/>
                        <a:pt x="14" y="2"/>
                        <a:pt x="12" y="1"/>
                      </a:cubicBezTo>
                      <a:cubicBezTo>
                        <a:pt x="11" y="0"/>
                        <a:pt x="11" y="0"/>
                        <a:pt x="10" y="3"/>
                      </a:cubicBezTo>
                      <a:cubicBezTo>
                        <a:pt x="10" y="6"/>
                        <a:pt x="8" y="6"/>
                        <a:pt x="6" y="7"/>
                      </a:cubicBezTo>
                      <a:cubicBezTo>
                        <a:pt x="5" y="7"/>
                        <a:pt x="4" y="8"/>
                        <a:pt x="2" y="8"/>
                      </a:cubicBezTo>
                      <a:cubicBezTo>
                        <a:pt x="1" y="8"/>
                        <a:pt x="0" y="8"/>
                        <a:pt x="1" y="9"/>
                      </a:cubicBezTo>
                      <a:cubicBezTo>
                        <a:pt x="2" y="11"/>
                        <a:pt x="4" y="8"/>
                        <a:pt x="3" y="12"/>
                      </a:cubicBezTo>
                      <a:cubicBezTo>
                        <a:pt x="3" y="16"/>
                        <a:pt x="3" y="16"/>
                        <a:pt x="3" y="18"/>
                      </a:cubicBezTo>
                      <a:cubicBezTo>
                        <a:pt x="2" y="19"/>
                        <a:pt x="1" y="20"/>
                        <a:pt x="3" y="21"/>
                      </a:cubicBezTo>
                      <a:cubicBezTo>
                        <a:pt x="5" y="21"/>
                        <a:pt x="7" y="19"/>
                        <a:pt x="8" y="18"/>
                      </a:cubicBezTo>
                      <a:cubicBezTo>
                        <a:pt x="9" y="17"/>
                        <a:pt x="12" y="17"/>
                        <a:pt x="14" y="16"/>
                      </a:cubicBezTo>
                      <a:cubicBezTo>
                        <a:pt x="16" y="16"/>
                        <a:pt x="18" y="16"/>
                        <a:pt x="17" y="14"/>
                      </a:cubicBezTo>
                      <a:cubicBezTo>
                        <a:pt x="17" y="12"/>
                        <a:pt x="17" y="10"/>
                        <a:pt x="18" y="9"/>
                      </a:cubicBezTo>
                      <a:cubicBezTo>
                        <a:pt x="19" y="8"/>
                        <a:pt x="18" y="7"/>
                        <a:pt x="17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0" name="Freeform 48">
                  <a:extLst>
                    <a:ext uri="{FF2B5EF4-FFF2-40B4-BE49-F238E27FC236}">
                      <a16:creationId xmlns:a16="http://schemas.microsoft.com/office/drawing/2014/main" id="{076C07EA-1FDD-5EDB-90EC-059A2FF35BE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16351" y="1958975"/>
                  <a:ext cx="25400" cy="20638"/>
                </a:xfrm>
                <a:custGeom>
                  <a:avLst/>
                  <a:gdLst>
                    <a:gd name="T0" fmla="*/ 3 w 6"/>
                    <a:gd name="T1" fmla="*/ 0 h 5"/>
                    <a:gd name="T2" fmla="*/ 2 w 6"/>
                    <a:gd name="T3" fmla="*/ 3 h 5"/>
                    <a:gd name="T4" fmla="*/ 5 w 6"/>
                    <a:gd name="T5" fmla="*/ 3 h 5"/>
                    <a:gd name="T6" fmla="*/ 3 w 6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3" y="0"/>
                      </a:moveTo>
                      <a:cubicBezTo>
                        <a:pt x="1" y="0"/>
                        <a:pt x="0" y="2"/>
                        <a:pt x="2" y="3"/>
                      </a:cubicBezTo>
                      <a:cubicBezTo>
                        <a:pt x="3" y="5"/>
                        <a:pt x="4" y="4"/>
                        <a:pt x="5" y="3"/>
                      </a:cubicBezTo>
                      <a:cubicBezTo>
                        <a:pt x="6" y="2"/>
                        <a:pt x="4" y="0"/>
                        <a:pt x="3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1" name="Freeform 49">
                  <a:extLst>
                    <a:ext uri="{FF2B5EF4-FFF2-40B4-BE49-F238E27FC236}">
                      <a16:creationId xmlns:a16="http://schemas.microsoft.com/office/drawing/2014/main" id="{514FC142-E796-8B7C-2897-40140373DCD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83026" y="1908175"/>
                  <a:ext cx="55563" cy="58738"/>
                </a:xfrm>
                <a:custGeom>
                  <a:avLst/>
                  <a:gdLst>
                    <a:gd name="T0" fmla="*/ 8 w 13"/>
                    <a:gd name="T1" fmla="*/ 3 h 14"/>
                    <a:gd name="T2" fmla="*/ 7 w 13"/>
                    <a:gd name="T3" fmla="*/ 5 h 14"/>
                    <a:gd name="T4" fmla="*/ 4 w 13"/>
                    <a:gd name="T5" fmla="*/ 5 h 14"/>
                    <a:gd name="T6" fmla="*/ 1 w 13"/>
                    <a:gd name="T7" fmla="*/ 10 h 14"/>
                    <a:gd name="T8" fmla="*/ 1 w 13"/>
                    <a:gd name="T9" fmla="*/ 13 h 14"/>
                    <a:gd name="T10" fmla="*/ 6 w 13"/>
                    <a:gd name="T11" fmla="*/ 12 h 14"/>
                    <a:gd name="T12" fmla="*/ 10 w 13"/>
                    <a:gd name="T13" fmla="*/ 11 h 14"/>
                    <a:gd name="T14" fmla="*/ 11 w 13"/>
                    <a:gd name="T15" fmla="*/ 7 h 14"/>
                    <a:gd name="T16" fmla="*/ 11 w 13"/>
                    <a:gd name="T17" fmla="*/ 3 h 14"/>
                    <a:gd name="T18" fmla="*/ 7 w 13"/>
                    <a:gd name="T19" fmla="*/ 0 h 14"/>
                    <a:gd name="T20" fmla="*/ 8 w 13"/>
                    <a:gd name="T21" fmla="*/ 3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3" h="14">
                      <a:moveTo>
                        <a:pt x="8" y="3"/>
                      </a:moveTo>
                      <a:cubicBezTo>
                        <a:pt x="8" y="6"/>
                        <a:pt x="8" y="7"/>
                        <a:pt x="7" y="5"/>
                      </a:cubicBezTo>
                      <a:cubicBezTo>
                        <a:pt x="5" y="3"/>
                        <a:pt x="5" y="2"/>
                        <a:pt x="4" y="5"/>
                      </a:cubicBezTo>
                      <a:cubicBezTo>
                        <a:pt x="3" y="7"/>
                        <a:pt x="1" y="9"/>
                        <a:pt x="1" y="10"/>
                      </a:cubicBezTo>
                      <a:cubicBezTo>
                        <a:pt x="0" y="11"/>
                        <a:pt x="0" y="13"/>
                        <a:pt x="1" y="13"/>
                      </a:cubicBezTo>
                      <a:cubicBezTo>
                        <a:pt x="3" y="14"/>
                        <a:pt x="4" y="13"/>
                        <a:pt x="6" y="12"/>
                      </a:cubicBezTo>
                      <a:cubicBezTo>
                        <a:pt x="7" y="11"/>
                        <a:pt x="10" y="12"/>
                        <a:pt x="10" y="11"/>
                      </a:cubicBezTo>
                      <a:cubicBezTo>
                        <a:pt x="10" y="10"/>
                        <a:pt x="9" y="8"/>
                        <a:pt x="11" y="7"/>
                      </a:cubicBezTo>
                      <a:cubicBezTo>
                        <a:pt x="13" y="6"/>
                        <a:pt x="12" y="3"/>
                        <a:pt x="11" y="3"/>
                      </a:cubicBezTo>
                      <a:cubicBezTo>
                        <a:pt x="10" y="2"/>
                        <a:pt x="8" y="0"/>
                        <a:pt x="7" y="0"/>
                      </a:cubicBezTo>
                      <a:cubicBezTo>
                        <a:pt x="7" y="0"/>
                        <a:pt x="9" y="2"/>
                        <a:pt x="8" y="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2" name="Freeform 50">
                  <a:extLst>
                    <a:ext uri="{FF2B5EF4-FFF2-40B4-BE49-F238E27FC236}">
                      <a16:creationId xmlns:a16="http://schemas.microsoft.com/office/drawing/2014/main" id="{C767ADCD-5A10-005E-9750-1562505459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05251" y="1866900"/>
                  <a:ext cx="23813" cy="25400"/>
                </a:xfrm>
                <a:custGeom>
                  <a:avLst/>
                  <a:gdLst>
                    <a:gd name="T0" fmla="*/ 3 w 6"/>
                    <a:gd name="T1" fmla="*/ 1 h 6"/>
                    <a:gd name="T2" fmla="*/ 1 w 6"/>
                    <a:gd name="T3" fmla="*/ 3 h 6"/>
                    <a:gd name="T4" fmla="*/ 5 w 6"/>
                    <a:gd name="T5" fmla="*/ 3 h 6"/>
                    <a:gd name="T6" fmla="*/ 3 w 6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6">
                      <a:moveTo>
                        <a:pt x="3" y="1"/>
                      </a:moveTo>
                      <a:cubicBezTo>
                        <a:pt x="2" y="0"/>
                        <a:pt x="0" y="1"/>
                        <a:pt x="1" y="3"/>
                      </a:cubicBezTo>
                      <a:cubicBezTo>
                        <a:pt x="2" y="6"/>
                        <a:pt x="4" y="3"/>
                        <a:pt x="5" y="3"/>
                      </a:cubicBezTo>
                      <a:cubicBezTo>
                        <a:pt x="6" y="3"/>
                        <a:pt x="4" y="1"/>
                        <a:pt x="3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3" name="Freeform 51">
                  <a:extLst>
                    <a:ext uri="{FF2B5EF4-FFF2-40B4-BE49-F238E27FC236}">
                      <a16:creationId xmlns:a16="http://schemas.microsoft.com/office/drawing/2014/main" id="{0229A87A-674B-1746-CC9D-9AB30C0F4D1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29064" y="1841500"/>
                  <a:ext cx="17463" cy="33338"/>
                </a:xfrm>
                <a:custGeom>
                  <a:avLst/>
                  <a:gdLst>
                    <a:gd name="T0" fmla="*/ 2 w 4"/>
                    <a:gd name="T1" fmla="*/ 1 h 8"/>
                    <a:gd name="T2" fmla="*/ 1 w 4"/>
                    <a:gd name="T3" fmla="*/ 4 h 8"/>
                    <a:gd name="T4" fmla="*/ 4 w 4"/>
                    <a:gd name="T5" fmla="*/ 6 h 8"/>
                    <a:gd name="T6" fmla="*/ 2 w 4"/>
                    <a:gd name="T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8">
                      <a:moveTo>
                        <a:pt x="2" y="1"/>
                      </a:moveTo>
                      <a:cubicBezTo>
                        <a:pt x="1" y="0"/>
                        <a:pt x="0" y="2"/>
                        <a:pt x="1" y="4"/>
                      </a:cubicBezTo>
                      <a:cubicBezTo>
                        <a:pt x="1" y="6"/>
                        <a:pt x="3" y="8"/>
                        <a:pt x="4" y="6"/>
                      </a:cubicBezTo>
                      <a:cubicBezTo>
                        <a:pt x="4" y="5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4" name="Freeform 52">
                  <a:extLst>
                    <a:ext uri="{FF2B5EF4-FFF2-40B4-BE49-F238E27FC236}">
                      <a16:creationId xmlns:a16="http://schemas.microsoft.com/office/drawing/2014/main" id="{A382BB6D-DA54-C4D7-4A8A-FA583ACC2E5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46526" y="1858963"/>
                  <a:ext cx="15875" cy="15875"/>
                </a:xfrm>
                <a:custGeom>
                  <a:avLst/>
                  <a:gdLst>
                    <a:gd name="T0" fmla="*/ 3 w 4"/>
                    <a:gd name="T1" fmla="*/ 0 h 4"/>
                    <a:gd name="T2" fmla="*/ 1 w 4"/>
                    <a:gd name="T3" fmla="*/ 3 h 4"/>
                    <a:gd name="T4" fmla="*/ 4 w 4"/>
                    <a:gd name="T5" fmla="*/ 3 h 4"/>
                    <a:gd name="T6" fmla="*/ 3 w 4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3" y="0"/>
                      </a:moveTo>
                      <a:cubicBezTo>
                        <a:pt x="1" y="0"/>
                        <a:pt x="0" y="2"/>
                        <a:pt x="1" y="3"/>
                      </a:cubicBezTo>
                      <a:cubicBezTo>
                        <a:pt x="2" y="4"/>
                        <a:pt x="4" y="4"/>
                        <a:pt x="4" y="3"/>
                      </a:cubicBezTo>
                      <a:cubicBezTo>
                        <a:pt x="4" y="1"/>
                        <a:pt x="4" y="0"/>
                        <a:pt x="3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5" name="Freeform 53">
                  <a:extLst>
                    <a:ext uri="{FF2B5EF4-FFF2-40B4-BE49-F238E27FC236}">
                      <a16:creationId xmlns:a16="http://schemas.microsoft.com/office/drawing/2014/main" id="{1531C049-B449-D32C-EF29-8C174B0A11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962401" y="1841500"/>
                  <a:ext cx="38100" cy="46038"/>
                </a:xfrm>
                <a:custGeom>
                  <a:avLst/>
                  <a:gdLst>
                    <a:gd name="T0" fmla="*/ 1 w 9"/>
                    <a:gd name="T1" fmla="*/ 1 h 11"/>
                    <a:gd name="T2" fmla="*/ 1 w 9"/>
                    <a:gd name="T3" fmla="*/ 4 h 11"/>
                    <a:gd name="T4" fmla="*/ 4 w 9"/>
                    <a:gd name="T5" fmla="*/ 10 h 11"/>
                    <a:gd name="T6" fmla="*/ 9 w 9"/>
                    <a:gd name="T7" fmla="*/ 8 h 11"/>
                    <a:gd name="T8" fmla="*/ 1 w 9"/>
                    <a:gd name="T9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1">
                      <a:moveTo>
                        <a:pt x="1" y="1"/>
                      </a:moveTo>
                      <a:cubicBezTo>
                        <a:pt x="0" y="0"/>
                        <a:pt x="0" y="1"/>
                        <a:pt x="1" y="4"/>
                      </a:cubicBezTo>
                      <a:cubicBezTo>
                        <a:pt x="2" y="7"/>
                        <a:pt x="2" y="11"/>
                        <a:pt x="4" y="10"/>
                      </a:cubicBezTo>
                      <a:cubicBezTo>
                        <a:pt x="6" y="10"/>
                        <a:pt x="8" y="9"/>
                        <a:pt x="9" y="8"/>
                      </a:cubicBezTo>
                      <a:cubicBezTo>
                        <a:pt x="9" y="7"/>
                        <a:pt x="6" y="2"/>
                        <a:pt x="1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6" name="Freeform 54">
                  <a:extLst>
                    <a:ext uri="{FF2B5EF4-FFF2-40B4-BE49-F238E27FC236}">
                      <a16:creationId xmlns:a16="http://schemas.microsoft.com/office/drawing/2014/main" id="{49347B95-13A5-E516-B6DB-2B30491E111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17964" y="1846263"/>
                  <a:ext cx="28575" cy="41275"/>
                </a:xfrm>
                <a:custGeom>
                  <a:avLst/>
                  <a:gdLst>
                    <a:gd name="T0" fmla="*/ 5 w 7"/>
                    <a:gd name="T1" fmla="*/ 1 h 10"/>
                    <a:gd name="T2" fmla="*/ 1 w 7"/>
                    <a:gd name="T3" fmla="*/ 6 h 10"/>
                    <a:gd name="T4" fmla="*/ 5 w 7"/>
                    <a:gd name="T5" fmla="*/ 7 h 10"/>
                    <a:gd name="T6" fmla="*/ 5 w 7"/>
                    <a:gd name="T7" fmla="*/ 1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0">
                      <a:moveTo>
                        <a:pt x="5" y="1"/>
                      </a:moveTo>
                      <a:cubicBezTo>
                        <a:pt x="3" y="0"/>
                        <a:pt x="0" y="2"/>
                        <a:pt x="1" y="6"/>
                      </a:cubicBezTo>
                      <a:cubicBezTo>
                        <a:pt x="1" y="9"/>
                        <a:pt x="4" y="10"/>
                        <a:pt x="5" y="7"/>
                      </a:cubicBezTo>
                      <a:cubicBezTo>
                        <a:pt x="7" y="4"/>
                        <a:pt x="6" y="1"/>
                        <a:pt x="5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7" name="Freeform 55">
                  <a:extLst>
                    <a:ext uri="{FF2B5EF4-FFF2-40B4-BE49-F238E27FC236}">
                      <a16:creationId xmlns:a16="http://schemas.microsoft.com/office/drawing/2014/main" id="{0C759307-A9F4-BA55-9634-7A467E0ED08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29076" y="1900238"/>
                  <a:ext cx="12700" cy="25400"/>
                </a:xfrm>
                <a:custGeom>
                  <a:avLst/>
                  <a:gdLst>
                    <a:gd name="T0" fmla="*/ 2 w 3"/>
                    <a:gd name="T1" fmla="*/ 1 h 6"/>
                    <a:gd name="T2" fmla="*/ 1 w 3"/>
                    <a:gd name="T3" fmla="*/ 4 h 6"/>
                    <a:gd name="T4" fmla="*/ 3 w 3"/>
                    <a:gd name="T5" fmla="*/ 2 h 6"/>
                    <a:gd name="T6" fmla="*/ 2 w 3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2" y="1"/>
                      </a:moveTo>
                      <a:cubicBezTo>
                        <a:pt x="0" y="1"/>
                        <a:pt x="0" y="2"/>
                        <a:pt x="1" y="4"/>
                      </a:cubicBezTo>
                      <a:cubicBezTo>
                        <a:pt x="2" y="6"/>
                        <a:pt x="3" y="3"/>
                        <a:pt x="3" y="2"/>
                      </a:cubicBezTo>
                      <a:cubicBezTo>
                        <a:pt x="3" y="0"/>
                        <a:pt x="3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8" name="Freeform 56">
                  <a:extLst>
                    <a:ext uri="{FF2B5EF4-FFF2-40B4-BE49-F238E27FC236}">
                      <a16:creationId xmlns:a16="http://schemas.microsoft.com/office/drawing/2014/main" id="{1D9F25AD-CE8D-03C0-63FB-7A13A96F94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95751" y="1825625"/>
                  <a:ext cx="9525" cy="15875"/>
                </a:xfrm>
                <a:custGeom>
                  <a:avLst/>
                  <a:gdLst>
                    <a:gd name="T0" fmla="*/ 1 w 2"/>
                    <a:gd name="T1" fmla="*/ 0 h 4"/>
                    <a:gd name="T2" fmla="*/ 1 w 2"/>
                    <a:gd name="T3" fmla="*/ 3 h 4"/>
                    <a:gd name="T4" fmla="*/ 2 w 2"/>
                    <a:gd name="T5" fmla="*/ 1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cubicBezTo>
                        <a:pt x="0" y="0"/>
                        <a:pt x="0" y="2"/>
                        <a:pt x="1" y="3"/>
                      </a:cubicBezTo>
                      <a:cubicBezTo>
                        <a:pt x="2" y="4"/>
                        <a:pt x="2" y="3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99" name="Freeform 57">
                  <a:extLst>
                    <a:ext uri="{FF2B5EF4-FFF2-40B4-BE49-F238E27FC236}">
                      <a16:creationId xmlns:a16="http://schemas.microsoft.com/office/drawing/2014/main" id="{959F7903-F169-BCE2-C0D5-01E060059F8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08451" y="1758950"/>
                  <a:ext cx="100013" cy="53975"/>
                </a:xfrm>
                <a:custGeom>
                  <a:avLst/>
                  <a:gdLst>
                    <a:gd name="T0" fmla="*/ 4 w 24"/>
                    <a:gd name="T1" fmla="*/ 5 h 13"/>
                    <a:gd name="T2" fmla="*/ 2 w 24"/>
                    <a:gd name="T3" fmla="*/ 8 h 13"/>
                    <a:gd name="T4" fmla="*/ 4 w 24"/>
                    <a:gd name="T5" fmla="*/ 12 h 13"/>
                    <a:gd name="T6" fmla="*/ 6 w 24"/>
                    <a:gd name="T7" fmla="*/ 13 h 13"/>
                    <a:gd name="T8" fmla="*/ 9 w 24"/>
                    <a:gd name="T9" fmla="*/ 12 h 13"/>
                    <a:gd name="T10" fmla="*/ 17 w 24"/>
                    <a:gd name="T11" fmla="*/ 10 h 13"/>
                    <a:gd name="T12" fmla="*/ 21 w 24"/>
                    <a:gd name="T13" fmla="*/ 5 h 13"/>
                    <a:gd name="T14" fmla="*/ 23 w 24"/>
                    <a:gd name="T15" fmla="*/ 2 h 13"/>
                    <a:gd name="T16" fmla="*/ 18 w 24"/>
                    <a:gd name="T17" fmla="*/ 1 h 13"/>
                    <a:gd name="T18" fmla="*/ 16 w 24"/>
                    <a:gd name="T19" fmla="*/ 3 h 13"/>
                    <a:gd name="T20" fmla="*/ 15 w 24"/>
                    <a:gd name="T21" fmla="*/ 5 h 13"/>
                    <a:gd name="T22" fmla="*/ 14 w 24"/>
                    <a:gd name="T23" fmla="*/ 3 h 13"/>
                    <a:gd name="T24" fmla="*/ 12 w 24"/>
                    <a:gd name="T25" fmla="*/ 5 h 13"/>
                    <a:gd name="T26" fmla="*/ 10 w 24"/>
                    <a:gd name="T27" fmla="*/ 3 h 13"/>
                    <a:gd name="T28" fmla="*/ 8 w 24"/>
                    <a:gd name="T29" fmla="*/ 6 h 13"/>
                    <a:gd name="T30" fmla="*/ 4 w 24"/>
                    <a:gd name="T31" fmla="*/ 5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4" h="13">
                      <a:moveTo>
                        <a:pt x="4" y="5"/>
                      </a:moveTo>
                      <a:cubicBezTo>
                        <a:pt x="3" y="5"/>
                        <a:pt x="0" y="6"/>
                        <a:pt x="2" y="8"/>
                      </a:cubicBezTo>
                      <a:cubicBezTo>
                        <a:pt x="3" y="10"/>
                        <a:pt x="6" y="10"/>
                        <a:pt x="4" y="12"/>
                      </a:cubicBezTo>
                      <a:cubicBezTo>
                        <a:pt x="3" y="13"/>
                        <a:pt x="5" y="13"/>
                        <a:pt x="6" y="13"/>
                      </a:cubicBezTo>
                      <a:cubicBezTo>
                        <a:pt x="7" y="13"/>
                        <a:pt x="7" y="11"/>
                        <a:pt x="9" y="12"/>
                      </a:cubicBezTo>
                      <a:cubicBezTo>
                        <a:pt x="11" y="13"/>
                        <a:pt x="15" y="11"/>
                        <a:pt x="17" y="10"/>
                      </a:cubicBezTo>
                      <a:cubicBezTo>
                        <a:pt x="18" y="9"/>
                        <a:pt x="19" y="7"/>
                        <a:pt x="21" y="5"/>
                      </a:cubicBezTo>
                      <a:cubicBezTo>
                        <a:pt x="23" y="3"/>
                        <a:pt x="24" y="3"/>
                        <a:pt x="23" y="2"/>
                      </a:cubicBezTo>
                      <a:cubicBezTo>
                        <a:pt x="22" y="1"/>
                        <a:pt x="20" y="2"/>
                        <a:pt x="18" y="1"/>
                      </a:cubicBezTo>
                      <a:cubicBezTo>
                        <a:pt x="17" y="0"/>
                        <a:pt x="16" y="1"/>
                        <a:pt x="16" y="3"/>
                      </a:cubicBezTo>
                      <a:cubicBezTo>
                        <a:pt x="17" y="4"/>
                        <a:pt x="16" y="6"/>
                        <a:pt x="15" y="5"/>
                      </a:cubicBezTo>
                      <a:cubicBezTo>
                        <a:pt x="14" y="5"/>
                        <a:pt x="15" y="3"/>
                        <a:pt x="14" y="3"/>
                      </a:cubicBezTo>
                      <a:cubicBezTo>
                        <a:pt x="12" y="3"/>
                        <a:pt x="12" y="4"/>
                        <a:pt x="12" y="5"/>
                      </a:cubicBezTo>
                      <a:cubicBezTo>
                        <a:pt x="11" y="6"/>
                        <a:pt x="11" y="4"/>
                        <a:pt x="10" y="3"/>
                      </a:cubicBezTo>
                      <a:cubicBezTo>
                        <a:pt x="9" y="3"/>
                        <a:pt x="8" y="4"/>
                        <a:pt x="8" y="6"/>
                      </a:cubicBezTo>
                      <a:cubicBezTo>
                        <a:pt x="7" y="7"/>
                        <a:pt x="6" y="5"/>
                        <a:pt x="4" y="5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0" name="Freeform 58">
                  <a:extLst>
                    <a:ext uri="{FF2B5EF4-FFF2-40B4-BE49-F238E27FC236}">
                      <a16:creationId xmlns:a16="http://schemas.microsoft.com/office/drawing/2014/main" id="{F0905C55-D8A3-B9E7-816E-234E4B0155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30689" y="1717675"/>
                  <a:ext cx="20638" cy="33338"/>
                </a:xfrm>
                <a:custGeom>
                  <a:avLst/>
                  <a:gdLst>
                    <a:gd name="T0" fmla="*/ 3 w 5"/>
                    <a:gd name="T1" fmla="*/ 2 h 8"/>
                    <a:gd name="T2" fmla="*/ 0 w 5"/>
                    <a:gd name="T3" fmla="*/ 3 h 8"/>
                    <a:gd name="T4" fmla="*/ 2 w 5"/>
                    <a:gd name="T5" fmla="*/ 7 h 8"/>
                    <a:gd name="T6" fmla="*/ 4 w 5"/>
                    <a:gd name="T7" fmla="*/ 6 h 8"/>
                    <a:gd name="T8" fmla="*/ 3 w 5"/>
                    <a:gd name="T9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8">
                      <a:moveTo>
                        <a:pt x="3" y="2"/>
                      </a:moveTo>
                      <a:cubicBezTo>
                        <a:pt x="2" y="0"/>
                        <a:pt x="1" y="1"/>
                        <a:pt x="0" y="3"/>
                      </a:cubicBezTo>
                      <a:cubicBezTo>
                        <a:pt x="0" y="6"/>
                        <a:pt x="0" y="7"/>
                        <a:pt x="2" y="7"/>
                      </a:cubicBezTo>
                      <a:cubicBezTo>
                        <a:pt x="3" y="8"/>
                        <a:pt x="5" y="8"/>
                        <a:pt x="4" y="6"/>
                      </a:cubicBezTo>
                      <a:cubicBezTo>
                        <a:pt x="4" y="4"/>
                        <a:pt x="4" y="4"/>
                        <a:pt x="3" y="2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1" name="Freeform 59">
                  <a:extLst>
                    <a:ext uri="{FF2B5EF4-FFF2-40B4-BE49-F238E27FC236}">
                      <a16:creationId xmlns:a16="http://schemas.microsoft.com/office/drawing/2014/main" id="{E35F1AFF-EDDE-9BD0-C657-3E28CBEF143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13226" y="1771650"/>
                  <a:ext cx="33338" cy="33338"/>
                </a:xfrm>
                <a:custGeom>
                  <a:avLst/>
                  <a:gdLst>
                    <a:gd name="T0" fmla="*/ 7 w 8"/>
                    <a:gd name="T1" fmla="*/ 1 h 8"/>
                    <a:gd name="T2" fmla="*/ 1 w 8"/>
                    <a:gd name="T3" fmla="*/ 1 h 8"/>
                    <a:gd name="T4" fmla="*/ 3 w 8"/>
                    <a:gd name="T5" fmla="*/ 6 h 8"/>
                    <a:gd name="T6" fmla="*/ 7 w 8"/>
                    <a:gd name="T7" fmla="*/ 6 h 8"/>
                    <a:gd name="T8" fmla="*/ 7 w 8"/>
                    <a:gd name="T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8">
                      <a:moveTo>
                        <a:pt x="7" y="1"/>
                      </a:moveTo>
                      <a:cubicBezTo>
                        <a:pt x="6" y="0"/>
                        <a:pt x="2" y="0"/>
                        <a:pt x="1" y="1"/>
                      </a:cubicBezTo>
                      <a:cubicBezTo>
                        <a:pt x="0" y="3"/>
                        <a:pt x="2" y="4"/>
                        <a:pt x="3" y="6"/>
                      </a:cubicBezTo>
                      <a:cubicBezTo>
                        <a:pt x="4" y="8"/>
                        <a:pt x="6" y="8"/>
                        <a:pt x="7" y="6"/>
                      </a:cubicBezTo>
                      <a:cubicBezTo>
                        <a:pt x="8" y="4"/>
                        <a:pt x="8" y="3"/>
                        <a:pt x="7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02" name="Freeform 60">
                  <a:extLst>
                    <a:ext uri="{FF2B5EF4-FFF2-40B4-BE49-F238E27FC236}">
                      <a16:creationId xmlns:a16="http://schemas.microsoft.com/office/drawing/2014/main" id="{839F62DF-5C32-A977-987F-E6CE40CF83E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67189" y="1787525"/>
                  <a:ext cx="53975" cy="58738"/>
                </a:xfrm>
                <a:custGeom>
                  <a:avLst/>
                  <a:gdLst>
                    <a:gd name="T0" fmla="*/ 11 w 13"/>
                    <a:gd name="T1" fmla="*/ 1 h 14"/>
                    <a:gd name="T2" fmla="*/ 9 w 13"/>
                    <a:gd name="T3" fmla="*/ 4 h 14"/>
                    <a:gd name="T4" fmla="*/ 4 w 13"/>
                    <a:gd name="T5" fmla="*/ 5 h 14"/>
                    <a:gd name="T6" fmla="*/ 1 w 13"/>
                    <a:gd name="T7" fmla="*/ 8 h 14"/>
                    <a:gd name="T8" fmla="*/ 3 w 13"/>
                    <a:gd name="T9" fmla="*/ 10 h 14"/>
                    <a:gd name="T10" fmla="*/ 6 w 13"/>
                    <a:gd name="T11" fmla="*/ 12 h 14"/>
                    <a:gd name="T12" fmla="*/ 8 w 13"/>
                    <a:gd name="T13" fmla="*/ 13 h 14"/>
                    <a:gd name="T14" fmla="*/ 12 w 13"/>
                    <a:gd name="T15" fmla="*/ 8 h 14"/>
                    <a:gd name="T16" fmla="*/ 13 w 13"/>
                    <a:gd name="T17" fmla="*/ 4 h 14"/>
                    <a:gd name="T18" fmla="*/ 11 w 13"/>
                    <a:gd name="T19" fmla="*/ 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" h="14">
                      <a:moveTo>
                        <a:pt x="11" y="1"/>
                      </a:moveTo>
                      <a:cubicBezTo>
                        <a:pt x="10" y="0"/>
                        <a:pt x="10" y="3"/>
                        <a:pt x="9" y="4"/>
                      </a:cubicBezTo>
                      <a:cubicBezTo>
                        <a:pt x="8" y="5"/>
                        <a:pt x="6" y="6"/>
                        <a:pt x="4" y="5"/>
                      </a:cubicBezTo>
                      <a:cubicBezTo>
                        <a:pt x="3" y="5"/>
                        <a:pt x="2" y="7"/>
                        <a:pt x="1" y="8"/>
                      </a:cubicBezTo>
                      <a:cubicBezTo>
                        <a:pt x="0" y="9"/>
                        <a:pt x="1" y="10"/>
                        <a:pt x="3" y="10"/>
                      </a:cubicBezTo>
                      <a:cubicBezTo>
                        <a:pt x="5" y="11"/>
                        <a:pt x="6" y="10"/>
                        <a:pt x="6" y="12"/>
                      </a:cubicBezTo>
                      <a:cubicBezTo>
                        <a:pt x="6" y="14"/>
                        <a:pt x="7" y="14"/>
                        <a:pt x="8" y="13"/>
                      </a:cubicBezTo>
                      <a:cubicBezTo>
                        <a:pt x="9" y="11"/>
                        <a:pt x="10" y="9"/>
                        <a:pt x="12" y="8"/>
                      </a:cubicBezTo>
                      <a:cubicBezTo>
                        <a:pt x="13" y="7"/>
                        <a:pt x="13" y="5"/>
                        <a:pt x="13" y="4"/>
                      </a:cubicBezTo>
                      <a:cubicBezTo>
                        <a:pt x="13" y="3"/>
                        <a:pt x="13" y="2"/>
                        <a:pt x="11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497" name="Freeform 61">
                <a:extLst>
                  <a:ext uri="{FF2B5EF4-FFF2-40B4-BE49-F238E27FC236}">
                    <a16:creationId xmlns:a16="http://schemas.microsoft.com/office/drawing/2014/main" id="{1B9DA15D-B78A-698E-1778-956068DB4B1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72783" y="4666780"/>
                <a:ext cx="408208" cy="186389"/>
              </a:xfrm>
              <a:custGeom>
                <a:avLst/>
                <a:gdLst>
                  <a:gd name="T0" fmla="*/ 3 w 101"/>
                  <a:gd name="T1" fmla="*/ 22 h 46"/>
                  <a:gd name="T2" fmla="*/ 2 w 101"/>
                  <a:gd name="T3" fmla="*/ 28 h 46"/>
                  <a:gd name="T4" fmla="*/ 2 w 101"/>
                  <a:gd name="T5" fmla="*/ 32 h 46"/>
                  <a:gd name="T6" fmla="*/ 8 w 101"/>
                  <a:gd name="T7" fmla="*/ 39 h 46"/>
                  <a:gd name="T8" fmla="*/ 16 w 101"/>
                  <a:gd name="T9" fmla="*/ 46 h 46"/>
                  <a:gd name="T10" fmla="*/ 30 w 101"/>
                  <a:gd name="T11" fmla="*/ 46 h 46"/>
                  <a:gd name="T12" fmla="*/ 36 w 101"/>
                  <a:gd name="T13" fmla="*/ 42 h 46"/>
                  <a:gd name="T14" fmla="*/ 39 w 101"/>
                  <a:gd name="T15" fmla="*/ 36 h 46"/>
                  <a:gd name="T16" fmla="*/ 50 w 101"/>
                  <a:gd name="T17" fmla="*/ 35 h 46"/>
                  <a:gd name="T18" fmla="*/ 56 w 101"/>
                  <a:gd name="T19" fmla="*/ 34 h 46"/>
                  <a:gd name="T20" fmla="*/ 63 w 101"/>
                  <a:gd name="T21" fmla="*/ 31 h 46"/>
                  <a:gd name="T22" fmla="*/ 69 w 101"/>
                  <a:gd name="T23" fmla="*/ 25 h 46"/>
                  <a:gd name="T24" fmla="*/ 77 w 101"/>
                  <a:gd name="T25" fmla="*/ 27 h 46"/>
                  <a:gd name="T26" fmla="*/ 83 w 101"/>
                  <a:gd name="T27" fmla="*/ 26 h 46"/>
                  <a:gd name="T28" fmla="*/ 87 w 101"/>
                  <a:gd name="T29" fmla="*/ 28 h 46"/>
                  <a:gd name="T30" fmla="*/ 95 w 101"/>
                  <a:gd name="T31" fmla="*/ 30 h 46"/>
                  <a:gd name="T32" fmla="*/ 96 w 101"/>
                  <a:gd name="T33" fmla="*/ 23 h 46"/>
                  <a:gd name="T34" fmla="*/ 100 w 101"/>
                  <a:gd name="T35" fmla="*/ 17 h 46"/>
                  <a:gd name="T36" fmla="*/ 101 w 101"/>
                  <a:gd name="T37" fmla="*/ 13 h 46"/>
                  <a:gd name="T38" fmla="*/ 91 w 101"/>
                  <a:gd name="T39" fmla="*/ 7 h 46"/>
                  <a:gd name="T40" fmla="*/ 87 w 101"/>
                  <a:gd name="T41" fmla="*/ 4 h 46"/>
                  <a:gd name="T42" fmla="*/ 80 w 101"/>
                  <a:gd name="T43" fmla="*/ 3 h 46"/>
                  <a:gd name="T44" fmla="*/ 74 w 101"/>
                  <a:gd name="T45" fmla="*/ 6 h 46"/>
                  <a:gd name="T46" fmla="*/ 69 w 101"/>
                  <a:gd name="T47" fmla="*/ 5 h 46"/>
                  <a:gd name="T48" fmla="*/ 63 w 101"/>
                  <a:gd name="T49" fmla="*/ 5 h 46"/>
                  <a:gd name="T50" fmla="*/ 57 w 101"/>
                  <a:gd name="T51" fmla="*/ 8 h 46"/>
                  <a:gd name="T52" fmla="*/ 53 w 101"/>
                  <a:gd name="T53" fmla="*/ 8 h 46"/>
                  <a:gd name="T54" fmla="*/ 50 w 101"/>
                  <a:gd name="T55" fmla="*/ 5 h 46"/>
                  <a:gd name="T56" fmla="*/ 47 w 101"/>
                  <a:gd name="T57" fmla="*/ 1 h 46"/>
                  <a:gd name="T58" fmla="*/ 43 w 101"/>
                  <a:gd name="T59" fmla="*/ 2 h 46"/>
                  <a:gd name="T60" fmla="*/ 38 w 101"/>
                  <a:gd name="T61" fmla="*/ 4 h 46"/>
                  <a:gd name="T62" fmla="*/ 36 w 101"/>
                  <a:gd name="T63" fmla="*/ 2 h 46"/>
                  <a:gd name="T64" fmla="*/ 32 w 101"/>
                  <a:gd name="T65" fmla="*/ 3 h 46"/>
                  <a:gd name="T66" fmla="*/ 29 w 101"/>
                  <a:gd name="T67" fmla="*/ 5 h 46"/>
                  <a:gd name="T68" fmla="*/ 23 w 101"/>
                  <a:gd name="T69" fmla="*/ 8 h 46"/>
                  <a:gd name="T70" fmla="*/ 22 w 101"/>
                  <a:gd name="T71" fmla="*/ 13 h 46"/>
                  <a:gd name="T72" fmla="*/ 15 w 101"/>
                  <a:gd name="T73" fmla="*/ 17 h 46"/>
                  <a:gd name="T74" fmla="*/ 7 w 101"/>
                  <a:gd name="T75" fmla="*/ 18 h 46"/>
                  <a:gd name="T76" fmla="*/ 3 w 101"/>
                  <a:gd name="T77" fmla="*/ 22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01" h="46">
                    <a:moveTo>
                      <a:pt x="3" y="22"/>
                    </a:moveTo>
                    <a:cubicBezTo>
                      <a:pt x="3" y="22"/>
                      <a:pt x="3" y="26"/>
                      <a:pt x="2" y="28"/>
                    </a:cubicBezTo>
                    <a:cubicBezTo>
                      <a:pt x="1" y="30"/>
                      <a:pt x="0" y="30"/>
                      <a:pt x="2" y="32"/>
                    </a:cubicBezTo>
                    <a:cubicBezTo>
                      <a:pt x="4" y="34"/>
                      <a:pt x="5" y="37"/>
                      <a:pt x="8" y="39"/>
                    </a:cubicBezTo>
                    <a:cubicBezTo>
                      <a:pt x="10" y="40"/>
                      <a:pt x="14" y="45"/>
                      <a:pt x="16" y="46"/>
                    </a:cubicBezTo>
                    <a:cubicBezTo>
                      <a:pt x="19" y="46"/>
                      <a:pt x="26" y="46"/>
                      <a:pt x="30" y="46"/>
                    </a:cubicBezTo>
                    <a:cubicBezTo>
                      <a:pt x="34" y="45"/>
                      <a:pt x="37" y="45"/>
                      <a:pt x="36" y="42"/>
                    </a:cubicBezTo>
                    <a:cubicBezTo>
                      <a:pt x="35" y="40"/>
                      <a:pt x="35" y="36"/>
                      <a:pt x="39" y="36"/>
                    </a:cubicBezTo>
                    <a:cubicBezTo>
                      <a:pt x="43" y="37"/>
                      <a:pt x="47" y="36"/>
                      <a:pt x="50" y="35"/>
                    </a:cubicBezTo>
                    <a:cubicBezTo>
                      <a:pt x="52" y="34"/>
                      <a:pt x="53" y="32"/>
                      <a:pt x="56" y="34"/>
                    </a:cubicBezTo>
                    <a:cubicBezTo>
                      <a:pt x="59" y="36"/>
                      <a:pt x="63" y="34"/>
                      <a:pt x="63" y="31"/>
                    </a:cubicBezTo>
                    <a:cubicBezTo>
                      <a:pt x="64" y="28"/>
                      <a:pt x="66" y="25"/>
                      <a:pt x="69" y="25"/>
                    </a:cubicBezTo>
                    <a:cubicBezTo>
                      <a:pt x="72" y="24"/>
                      <a:pt x="75" y="27"/>
                      <a:pt x="77" y="27"/>
                    </a:cubicBezTo>
                    <a:cubicBezTo>
                      <a:pt x="78" y="26"/>
                      <a:pt x="80" y="26"/>
                      <a:pt x="83" y="26"/>
                    </a:cubicBezTo>
                    <a:cubicBezTo>
                      <a:pt x="85" y="25"/>
                      <a:pt x="85" y="26"/>
                      <a:pt x="87" y="28"/>
                    </a:cubicBezTo>
                    <a:cubicBezTo>
                      <a:pt x="90" y="31"/>
                      <a:pt x="89" y="32"/>
                      <a:pt x="95" y="30"/>
                    </a:cubicBezTo>
                    <a:cubicBezTo>
                      <a:pt x="95" y="30"/>
                      <a:pt x="95" y="25"/>
                      <a:pt x="96" y="23"/>
                    </a:cubicBezTo>
                    <a:cubicBezTo>
                      <a:pt x="98" y="22"/>
                      <a:pt x="99" y="19"/>
                      <a:pt x="100" y="17"/>
                    </a:cubicBezTo>
                    <a:cubicBezTo>
                      <a:pt x="101" y="14"/>
                      <a:pt x="101" y="13"/>
                      <a:pt x="101" y="13"/>
                    </a:cubicBezTo>
                    <a:cubicBezTo>
                      <a:pt x="101" y="13"/>
                      <a:pt x="93" y="10"/>
                      <a:pt x="91" y="7"/>
                    </a:cubicBezTo>
                    <a:cubicBezTo>
                      <a:pt x="89" y="5"/>
                      <a:pt x="89" y="5"/>
                      <a:pt x="87" y="4"/>
                    </a:cubicBezTo>
                    <a:cubicBezTo>
                      <a:pt x="86" y="4"/>
                      <a:pt x="83" y="4"/>
                      <a:pt x="80" y="3"/>
                    </a:cubicBezTo>
                    <a:cubicBezTo>
                      <a:pt x="78" y="3"/>
                      <a:pt x="76" y="4"/>
                      <a:pt x="74" y="6"/>
                    </a:cubicBezTo>
                    <a:cubicBezTo>
                      <a:pt x="72" y="8"/>
                      <a:pt x="70" y="6"/>
                      <a:pt x="69" y="5"/>
                    </a:cubicBezTo>
                    <a:cubicBezTo>
                      <a:pt x="67" y="5"/>
                      <a:pt x="65" y="5"/>
                      <a:pt x="63" y="5"/>
                    </a:cubicBezTo>
                    <a:cubicBezTo>
                      <a:pt x="61" y="5"/>
                      <a:pt x="60" y="6"/>
                      <a:pt x="57" y="8"/>
                    </a:cubicBezTo>
                    <a:cubicBezTo>
                      <a:pt x="55" y="11"/>
                      <a:pt x="53" y="9"/>
                      <a:pt x="53" y="8"/>
                    </a:cubicBezTo>
                    <a:cubicBezTo>
                      <a:pt x="52" y="6"/>
                      <a:pt x="53" y="5"/>
                      <a:pt x="50" y="5"/>
                    </a:cubicBezTo>
                    <a:cubicBezTo>
                      <a:pt x="48" y="5"/>
                      <a:pt x="48" y="2"/>
                      <a:pt x="47" y="1"/>
                    </a:cubicBezTo>
                    <a:cubicBezTo>
                      <a:pt x="47" y="0"/>
                      <a:pt x="45" y="0"/>
                      <a:pt x="43" y="2"/>
                    </a:cubicBezTo>
                    <a:cubicBezTo>
                      <a:pt x="41" y="4"/>
                      <a:pt x="38" y="6"/>
                      <a:pt x="38" y="4"/>
                    </a:cubicBezTo>
                    <a:cubicBezTo>
                      <a:pt x="38" y="2"/>
                      <a:pt x="38" y="2"/>
                      <a:pt x="36" y="2"/>
                    </a:cubicBezTo>
                    <a:cubicBezTo>
                      <a:pt x="36" y="2"/>
                      <a:pt x="34" y="2"/>
                      <a:pt x="32" y="3"/>
                    </a:cubicBezTo>
                    <a:cubicBezTo>
                      <a:pt x="30" y="3"/>
                      <a:pt x="31" y="4"/>
                      <a:pt x="29" y="5"/>
                    </a:cubicBezTo>
                    <a:cubicBezTo>
                      <a:pt x="27" y="6"/>
                      <a:pt x="24" y="6"/>
                      <a:pt x="23" y="8"/>
                    </a:cubicBezTo>
                    <a:cubicBezTo>
                      <a:pt x="22" y="9"/>
                      <a:pt x="23" y="12"/>
                      <a:pt x="22" y="13"/>
                    </a:cubicBezTo>
                    <a:cubicBezTo>
                      <a:pt x="21" y="14"/>
                      <a:pt x="18" y="16"/>
                      <a:pt x="15" y="17"/>
                    </a:cubicBezTo>
                    <a:cubicBezTo>
                      <a:pt x="12" y="19"/>
                      <a:pt x="10" y="19"/>
                      <a:pt x="7" y="18"/>
                    </a:cubicBezTo>
                    <a:cubicBezTo>
                      <a:pt x="4" y="17"/>
                      <a:pt x="4" y="21"/>
                      <a:pt x="3" y="22"/>
                    </a:cubicBezTo>
                    <a:close/>
                  </a:path>
                </a:pathLst>
              </a:custGeom>
              <a:pattFill prst="wdUpDiag">
                <a:fgClr>
                  <a:schemeClr val="accent3"/>
                </a:fgClr>
                <a:bgClr>
                  <a:schemeClr val="accent4"/>
                </a:bgClr>
              </a:patt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498" name="Freeform 62">
                <a:extLst>
                  <a:ext uri="{FF2B5EF4-FFF2-40B4-BE49-F238E27FC236}">
                    <a16:creationId xmlns:a16="http://schemas.microsoft.com/office/drawing/2014/main" id="{2D32DED7-AE16-FBE9-C9D4-930D108A00C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9071" y="4776149"/>
                <a:ext cx="263410" cy="311162"/>
              </a:xfrm>
              <a:custGeom>
                <a:avLst/>
                <a:gdLst>
                  <a:gd name="T0" fmla="*/ 0 w 65"/>
                  <a:gd name="T1" fmla="*/ 6 h 77"/>
                  <a:gd name="T2" fmla="*/ 5 w 65"/>
                  <a:gd name="T3" fmla="*/ 9 h 77"/>
                  <a:gd name="T4" fmla="*/ 9 w 65"/>
                  <a:gd name="T5" fmla="*/ 15 h 77"/>
                  <a:gd name="T6" fmla="*/ 14 w 65"/>
                  <a:gd name="T7" fmla="*/ 24 h 77"/>
                  <a:gd name="T8" fmla="*/ 18 w 65"/>
                  <a:gd name="T9" fmla="*/ 27 h 77"/>
                  <a:gd name="T10" fmla="*/ 20 w 65"/>
                  <a:gd name="T11" fmla="*/ 32 h 77"/>
                  <a:gd name="T12" fmla="*/ 24 w 65"/>
                  <a:gd name="T13" fmla="*/ 35 h 77"/>
                  <a:gd name="T14" fmla="*/ 28 w 65"/>
                  <a:gd name="T15" fmla="*/ 40 h 77"/>
                  <a:gd name="T16" fmla="*/ 31 w 65"/>
                  <a:gd name="T17" fmla="*/ 50 h 77"/>
                  <a:gd name="T18" fmla="*/ 30 w 65"/>
                  <a:gd name="T19" fmla="*/ 57 h 77"/>
                  <a:gd name="T20" fmla="*/ 30 w 65"/>
                  <a:gd name="T21" fmla="*/ 66 h 77"/>
                  <a:gd name="T22" fmla="*/ 31 w 65"/>
                  <a:gd name="T23" fmla="*/ 73 h 77"/>
                  <a:gd name="T24" fmla="*/ 32 w 65"/>
                  <a:gd name="T25" fmla="*/ 77 h 77"/>
                  <a:gd name="T26" fmla="*/ 38 w 65"/>
                  <a:gd name="T27" fmla="*/ 75 h 77"/>
                  <a:gd name="T28" fmla="*/ 38 w 65"/>
                  <a:gd name="T29" fmla="*/ 72 h 77"/>
                  <a:gd name="T30" fmla="*/ 41 w 65"/>
                  <a:gd name="T31" fmla="*/ 67 h 77"/>
                  <a:gd name="T32" fmla="*/ 45 w 65"/>
                  <a:gd name="T33" fmla="*/ 60 h 77"/>
                  <a:gd name="T34" fmla="*/ 44 w 65"/>
                  <a:gd name="T35" fmla="*/ 53 h 77"/>
                  <a:gd name="T36" fmla="*/ 47 w 65"/>
                  <a:gd name="T37" fmla="*/ 50 h 77"/>
                  <a:gd name="T38" fmla="*/ 51 w 65"/>
                  <a:gd name="T39" fmla="*/ 52 h 77"/>
                  <a:gd name="T40" fmla="*/ 53 w 65"/>
                  <a:gd name="T41" fmla="*/ 50 h 77"/>
                  <a:gd name="T42" fmla="*/ 57 w 65"/>
                  <a:gd name="T43" fmla="*/ 53 h 77"/>
                  <a:gd name="T44" fmla="*/ 59 w 65"/>
                  <a:gd name="T45" fmla="*/ 52 h 77"/>
                  <a:gd name="T46" fmla="*/ 64 w 65"/>
                  <a:gd name="T47" fmla="*/ 52 h 77"/>
                  <a:gd name="T48" fmla="*/ 63 w 65"/>
                  <a:gd name="T49" fmla="*/ 50 h 77"/>
                  <a:gd name="T50" fmla="*/ 62 w 65"/>
                  <a:gd name="T51" fmla="*/ 45 h 77"/>
                  <a:gd name="T52" fmla="*/ 57 w 65"/>
                  <a:gd name="T53" fmla="*/ 41 h 77"/>
                  <a:gd name="T54" fmla="*/ 54 w 65"/>
                  <a:gd name="T55" fmla="*/ 33 h 77"/>
                  <a:gd name="T56" fmla="*/ 51 w 65"/>
                  <a:gd name="T57" fmla="*/ 30 h 77"/>
                  <a:gd name="T58" fmla="*/ 47 w 65"/>
                  <a:gd name="T59" fmla="*/ 27 h 77"/>
                  <a:gd name="T60" fmla="*/ 46 w 65"/>
                  <a:gd name="T61" fmla="*/ 20 h 77"/>
                  <a:gd name="T62" fmla="*/ 44 w 65"/>
                  <a:gd name="T63" fmla="*/ 15 h 77"/>
                  <a:gd name="T64" fmla="*/ 40 w 65"/>
                  <a:gd name="T65" fmla="*/ 11 h 77"/>
                  <a:gd name="T66" fmla="*/ 34 w 65"/>
                  <a:gd name="T67" fmla="*/ 9 h 77"/>
                  <a:gd name="T68" fmla="*/ 31 w 65"/>
                  <a:gd name="T69" fmla="*/ 9 h 77"/>
                  <a:gd name="T70" fmla="*/ 24 w 65"/>
                  <a:gd name="T71" fmla="*/ 5 h 77"/>
                  <a:gd name="T72" fmla="*/ 16 w 65"/>
                  <a:gd name="T73" fmla="*/ 1 h 77"/>
                  <a:gd name="T74" fmla="*/ 6 w 65"/>
                  <a:gd name="T75" fmla="*/ 3 h 77"/>
                  <a:gd name="T76" fmla="*/ 1 w 65"/>
                  <a:gd name="T77" fmla="*/ 5 h 77"/>
                  <a:gd name="T78" fmla="*/ 0 w 65"/>
                  <a:gd name="T79" fmla="*/ 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5" h="77">
                    <a:moveTo>
                      <a:pt x="0" y="6"/>
                    </a:moveTo>
                    <a:cubicBezTo>
                      <a:pt x="0" y="6"/>
                      <a:pt x="3" y="7"/>
                      <a:pt x="5" y="9"/>
                    </a:cubicBezTo>
                    <a:cubicBezTo>
                      <a:pt x="7" y="10"/>
                      <a:pt x="8" y="12"/>
                      <a:pt x="9" y="15"/>
                    </a:cubicBezTo>
                    <a:cubicBezTo>
                      <a:pt x="10" y="17"/>
                      <a:pt x="12" y="22"/>
                      <a:pt x="14" y="24"/>
                    </a:cubicBezTo>
                    <a:cubicBezTo>
                      <a:pt x="16" y="26"/>
                      <a:pt x="18" y="26"/>
                      <a:pt x="18" y="27"/>
                    </a:cubicBezTo>
                    <a:cubicBezTo>
                      <a:pt x="18" y="28"/>
                      <a:pt x="19" y="30"/>
                      <a:pt x="20" y="32"/>
                    </a:cubicBezTo>
                    <a:cubicBezTo>
                      <a:pt x="21" y="33"/>
                      <a:pt x="21" y="33"/>
                      <a:pt x="24" y="35"/>
                    </a:cubicBezTo>
                    <a:cubicBezTo>
                      <a:pt x="26" y="37"/>
                      <a:pt x="27" y="38"/>
                      <a:pt x="28" y="40"/>
                    </a:cubicBezTo>
                    <a:cubicBezTo>
                      <a:pt x="30" y="43"/>
                      <a:pt x="30" y="47"/>
                      <a:pt x="31" y="50"/>
                    </a:cubicBezTo>
                    <a:cubicBezTo>
                      <a:pt x="31" y="53"/>
                      <a:pt x="30" y="55"/>
                      <a:pt x="30" y="57"/>
                    </a:cubicBezTo>
                    <a:cubicBezTo>
                      <a:pt x="29" y="60"/>
                      <a:pt x="29" y="63"/>
                      <a:pt x="30" y="66"/>
                    </a:cubicBezTo>
                    <a:cubicBezTo>
                      <a:pt x="31" y="70"/>
                      <a:pt x="32" y="71"/>
                      <a:pt x="31" y="73"/>
                    </a:cubicBezTo>
                    <a:cubicBezTo>
                      <a:pt x="30" y="74"/>
                      <a:pt x="31" y="75"/>
                      <a:pt x="32" y="77"/>
                    </a:cubicBezTo>
                    <a:cubicBezTo>
                      <a:pt x="32" y="77"/>
                      <a:pt x="36" y="75"/>
                      <a:pt x="38" y="75"/>
                    </a:cubicBezTo>
                    <a:cubicBezTo>
                      <a:pt x="39" y="75"/>
                      <a:pt x="38" y="73"/>
                      <a:pt x="38" y="72"/>
                    </a:cubicBezTo>
                    <a:cubicBezTo>
                      <a:pt x="38" y="70"/>
                      <a:pt x="40" y="69"/>
                      <a:pt x="41" y="67"/>
                    </a:cubicBezTo>
                    <a:cubicBezTo>
                      <a:pt x="43" y="65"/>
                      <a:pt x="45" y="61"/>
                      <a:pt x="45" y="60"/>
                    </a:cubicBezTo>
                    <a:cubicBezTo>
                      <a:pt x="46" y="58"/>
                      <a:pt x="44" y="55"/>
                      <a:pt x="44" y="53"/>
                    </a:cubicBezTo>
                    <a:cubicBezTo>
                      <a:pt x="43" y="52"/>
                      <a:pt x="45" y="51"/>
                      <a:pt x="47" y="50"/>
                    </a:cubicBezTo>
                    <a:cubicBezTo>
                      <a:pt x="49" y="49"/>
                      <a:pt x="49" y="51"/>
                      <a:pt x="51" y="52"/>
                    </a:cubicBezTo>
                    <a:cubicBezTo>
                      <a:pt x="52" y="54"/>
                      <a:pt x="52" y="50"/>
                      <a:pt x="53" y="50"/>
                    </a:cubicBezTo>
                    <a:cubicBezTo>
                      <a:pt x="54" y="50"/>
                      <a:pt x="56" y="52"/>
                      <a:pt x="57" y="53"/>
                    </a:cubicBezTo>
                    <a:cubicBezTo>
                      <a:pt x="58" y="53"/>
                      <a:pt x="59" y="51"/>
                      <a:pt x="59" y="52"/>
                    </a:cubicBezTo>
                    <a:cubicBezTo>
                      <a:pt x="60" y="54"/>
                      <a:pt x="62" y="53"/>
                      <a:pt x="64" y="52"/>
                    </a:cubicBezTo>
                    <a:cubicBezTo>
                      <a:pt x="65" y="52"/>
                      <a:pt x="65" y="52"/>
                      <a:pt x="63" y="50"/>
                    </a:cubicBezTo>
                    <a:cubicBezTo>
                      <a:pt x="62" y="48"/>
                      <a:pt x="62" y="47"/>
                      <a:pt x="62" y="45"/>
                    </a:cubicBezTo>
                    <a:cubicBezTo>
                      <a:pt x="62" y="43"/>
                      <a:pt x="60" y="43"/>
                      <a:pt x="57" y="41"/>
                    </a:cubicBezTo>
                    <a:cubicBezTo>
                      <a:pt x="55" y="38"/>
                      <a:pt x="54" y="35"/>
                      <a:pt x="54" y="33"/>
                    </a:cubicBezTo>
                    <a:cubicBezTo>
                      <a:pt x="55" y="31"/>
                      <a:pt x="53" y="29"/>
                      <a:pt x="51" y="30"/>
                    </a:cubicBezTo>
                    <a:cubicBezTo>
                      <a:pt x="49" y="31"/>
                      <a:pt x="50" y="28"/>
                      <a:pt x="47" y="27"/>
                    </a:cubicBezTo>
                    <a:cubicBezTo>
                      <a:pt x="44" y="26"/>
                      <a:pt x="45" y="23"/>
                      <a:pt x="46" y="20"/>
                    </a:cubicBezTo>
                    <a:cubicBezTo>
                      <a:pt x="46" y="18"/>
                      <a:pt x="48" y="16"/>
                      <a:pt x="44" y="15"/>
                    </a:cubicBezTo>
                    <a:cubicBezTo>
                      <a:pt x="41" y="15"/>
                      <a:pt x="42" y="13"/>
                      <a:pt x="40" y="11"/>
                    </a:cubicBezTo>
                    <a:cubicBezTo>
                      <a:pt x="38" y="10"/>
                      <a:pt x="35" y="8"/>
                      <a:pt x="34" y="9"/>
                    </a:cubicBezTo>
                    <a:cubicBezTo>
                      <a:pt x="33" y="11"/>
                      <a:pt x="31" y="12"/>
                      <a:pt x="31" y="9"/>
                    </a:cubicBezTo>
                    <a:cubicBezTo>
                      <a:pt x="31" y="7"/>
                      <a:pt x="25" y="7"/>
                      <a:pt x="24" y="5"/>
                    </a:cubicBezTo>
                    <a:cubicBezTo>
                      <a:pt x="22" y="3"/>
                      <a:pt x="19" y="1"/>
                      <a:pt x="16" y="1"/>
                    </a:cubicBezTo>
                    <a:cubicBezTo>
                      <a:pt x="14" y="0"/>
                      <a:pt x="9" y="2"/>
                      <a:pt x="6" y="3"/>
                    </a:cubicBezTo>
                    <a:cubicBezTo>
                      <a:pt x="4" y="3"/>
                      <a:pt x="1" y="3"/>
                      <a:pt x="1" y="5"/>
                    </a:cubicBezTo>
                    <a:cubicBezTo>
                      <a:pt x="0" y="5"/>
                      <a:pt x="0" y="6"/>
                      <a:pt x="0" y="6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499" name="Freeform 63">
                <a:extLst>
                  <a:ext uri="{FF2B5EF4-FFF2-40B4-BE49-F238E27FC236}">
                    <a16:creationId xmlns:a16="http://schemas.microsoft.com/office/drawing/2014/main" id="{041E4CC5-CFFD-654C-4731-2B55D28A2B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36192" y="4799255"/>
                <a:ext cx="699343" cy="486768"/>
              </a:xfrm>
              <a:custGeom>
                <a:avLst/>
                <a:gdLst>
                  <a:gd name="T0" fmla="*/ 42 w 173"/>
                  <a:gd name="T1" fmla="*/ 10 h 120"/>
                  <a:gd name="T2" fmla="*/ 33 w 173"/>
                  <a:gd name="T3" fmla="*/ 15 h 120"/>
                  <a:gd name="T4" fmla="*/ 29 w 173"/>
                  <a:gd name="T5" fmla="*/ 22 h 120"/>
                  <a:gd name="T6" fmla="*/ 23 w 173"/>
                  <a:gd name="T7" fmla="*/ 34 h 120"/>
                  <a:gd name="T8" fmla="*/ 18 w 173"/>
                  <a:gd name="T9" fmla="*/ 41 h 120"/>
                  <a:gd name="T10" fmla="*/ 13 w 173"/>
                  <a:gd name="T11" fmla="*/ 50 h 120"/>
                  <a:gd name="T12" fmla="*/ 5 w 173"/>
                  <a:gd name="T13" fmla="*/ 53 h 120"/>
                  <a:gd name="T14" fmla="*/ 3 w 173"/>
                  <a:gd name="T15" fmla="*/ 59 h 120"/>
                  <a:gd name="T16" fmla="*/ 9 w 173"/>
                  <a:gd name="T17" fmla="*/ 65 h 120"/>
                  <a:gd name="T18" fmla="*/ 17 w 173"/>
                  <a:gd name="T19" fmla="*/ 78 h 120"/>
                  <a:gd name="T20" fmla="*/ 22 w 173"/>
                  <a:gd name="T21" fmla="*/ 84 h 120"/>
                  <a:gd name="T22" fmla="*/ 23 w 173"/>
                  <a:gd name="T23" fmla="*/ 89 h 120"/>
                  <a:gd name="T24" fmla="*/ 34 w 173"/>
                  <a:gd name="T25" fmla="*/ 93 h 120"/>
                  <a:gd name="T26" fmla="*/ 42 w 173"/>
                  <a:gd name="T27" fmla="*/ 91 h 120"/>
                  <a:gd name="T28" fmla="*/ 42 w 173"/>
                  <a:gd name="T29" fmla="*/ 97 h 120"/>
                  <a:gd name="T30" fmla="*/ 51 w 173"/>
                  <a:gd name="T31" fmla="*/ 107 h 120"/>
                  <a:gd name="T32" fmla="*/ 55 w 173"/>
                  <a:gd name="T33" fmla="*/ 114 h 120"/>
                  <a:gd name="T34" fmla="*/ 69 w 173"/>
                  <a:gd name="T35" fmla="*/ 116 h 120"/>
                  <a:gd name="T36" fmla="*/ 82 w 173"/>
                  <a:gd name="T37" fmla="*/ 116 h 120"/>
                  <a:gd name="T38" fmla="*/ 99 w 173"/>
                  <a:gd name="T39" fmla="*/ 118 h 120"/>
                  <a:gd name="T40" fmla="*/ 114 w 173"/>
                  <a:gd name="T41" fmla="*/ 109 h 120"/>
                  <a:gd name="T42" fmla="*/ 130 w 173"/>
                  <a:gd name="T43" fmla="*/ 106 h 120"/>
                  <a:gd name="T44" fmla="*/ 139 w 173"/>
                  <a:gd name="T45" fmla="*/ 110 h 120"/>
                  <a:gd name="T46" fmla="*/ 151 w 173"/>
                  <a:gd name="T47" fmla="*/ 116 h 120"/>
                  <a:gd name="T48" fmla="*/ 156 w 173"/>
                  <a:gd name="T49" fmla="*/ 109 h 120"/>
                  <a:gd name="T50" fmla="*/ 159 w 173"/>
                  <a:gd name="T51" fmla="*/ 94 h 120"/>
                  <a:gd name="T52" fmla="*/ 159 w 173"/>
                  <a:gd name="T53" fmla="*/ 87 h 120"/>
                  <a:gd name="T54" fmla="*/ 161 w 173"/>
                  <a:gd name="T55" fmla="*/ 87 h 120"/>
                  <a:gd name="T56" fmla="*/ 171 w 173"/>
                  <a:gd name="T57" fmla="*/ 87 h 120"/>
                  <a:gd name="T58" fmla="*/ 170 w 173"/>
                  <a:gd name="T59" fmla="*/ 73 h 120"/>
                  <a:gd name="T60" fmla="*/ 156 w 173"/>
                  <a:gd name="T61" fmla="*/ 75 h 120"/>
                  <a:gd name="T62" fmla="*/ 144 w 173"/>
                  <a:gd name="T63" fmla="*/ 71 h 120"/>
                  <a:gd name="T64" fmla="*/ 142 w 173"/>
                  <a:gd name="T65" fmla="*/ 60 h 120"/>
                  <a:gd name="T66" fmla="*/ 143 w 173"/>
                  <a:gd name="T67" fmla="*/ 44 h 120"/>
                  <a:gd name="T68" fmla="*/ 136 w 173"/>
                  <a:gd name="T69" fmla="*/ 29 h 120"/>
                  <a:gd name="T70" fmla="*/ 130 w 173"/>
                  <a:gd name="T71" fmla="*/ 21 h 120"/>
                  <a:gd name="T72" fmla="*/ 121 w 173"/>
                  <a:gd name="T73" fmla="*/ 9 h 120"/>
                  <a:gd name="T74" fmla="*/ 112 w 173"/>
                  <a:gd name="T75" fmla="*/ 0 h 120"/>
                  <a:gd name="T76" fmla="*/ 104 w 173"/>
                  <a:gd name="T77" fmla="*/ 5 h 120"/>
                  <a:gd name="T78" fmla="*/ 86 w 173"/>
                  <a:gd name="T79" fmla="*/ 9 h 120"/>
                  <a:gd name="T80" fmla="*/ 75 w 173"/>
                  <a:gd name="T81" fmla="*/ 8 h 120"/>
                  <a:gd name="T82" fmla="*/ 57 w 173"/>
                  <a:gd name="T83" fmla="*/ 6 h 120"/>
                  <a:gd name="T84" fmla="*/ 45 w 173"/>
                  <a:gd name="T85" fmla="*/ 6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3" h="120">
                    <a:moveTo>
                      <a:pt x="45" y="6"/>
                    </a:moveTo>
                    <a:cubicBezTo>
                      <a:pt x="45" y="6"/>
                      <a:pt x="43" y="9"/>
                      <a:pt x="42" y="10"/>
                    </a:cubicBezTo>
                    <a:cubicBezTo>
                      <a:pt x="41" y="10"/>
                      <a:pt x="39" y="12"/>
                      <a:pt x="37" y="12"/>
                    </a:cubicBezTo>
                    <a:cubicBezTo>
                      <a:pt x="35" y="12"/>
                      <a:pt x="34" y="13"/>
                      <a:pt x="33" y="15"/>
                    </a:cubicBezTo>
                    <a:cubicBezTo>
                      <a:pt x="31" y="16"/>
                      <a:pt x="30" y="16"/>
                      <a:pt x="29" y="17"/>
                    </a:cubicBezTo>
                    <a:cubicBezTo>
                      <a:pt x="29" y="18"/>
                      <a:pt x="30" y="20"/>
                      <a:pt x="29" y="22"/>
                    </a:cubicBezTo>
                    <a:cubicBezTo>
                      <a:pt x="29" y="23"/>
                      <a:pt x="27" y="26"/>
                      <a:pt x="25" y="27"/>
                    </a:cubicBezTo>
                    <a:cubicBezTo>
                      <a:pt x="24" y="29"/>
                      <a:pt x="24" y="33"/>
                      <a:pt x="23" y="34"/>
                    </a:cubicBezTo>
                    <a:cubicBezTo>
                      <a:pt x="21" y="35"/>
                      <a:pt x="20" y="37"/>
                      <a:pt x="20" y="39"/>
                    </a:cubicBezTo>
                    <a:cubicBezTo>
                      <a:pt x="20" y="41"/>
                      <a:pt x="19" y="40"/>
                      <a:pt x="18" y="41"/>
                    </a:cubicBezTo>
                    <a:cubicBezTo>
                      <a:pt x="17" y="42"/>
                      <a:pt x="17" y="44"/>
                      <a:pt x="16" y="46"/>
                    </a:cubicBezTo>
                    <a:cubicBezTo>
                      <a:pt x="15" y="48"/>
                      <a:pt x="15" y="50"/>
                      <a:pt x="13" y="50"/>
                    </a:cubicBezTo>
                    <a:cubicBezTo>
                      <a:pt x="12" y="50"/>
                      <a:pt x="10" y="50"/>
                      <a:pt x="9" y="51"/>
                    </a:cubicBezTo>
                    <a:cubicBezTo>
                      <a:pt x="8" y="52"/>
                      <a:pt x="6" y="53"/>
                      <a:pt x="5" y="53"/>
                    </a:cubicBezTo>
                    <a:cubicBezTo>
                      <a:pt x="3" y="53"/>
                      <a:pt x="0" y="55"/>
                      <a:pt x="0" y="55"/>
                    </a:cubicBezTo>
                    <a:cubicBezTo>
                      <a:pt x="0" y="55"/>
                      <a:pt x="1" y="57"/>
                      <a:pt x="3" y="59"/>
                    </a:cubicBezTo>
                    <a:cubicBezTo>
                      <a:pt x="5" y="60"/>
                      <a:pt x="7" y="62"/>
                      <a:pt x="8" y="62"/>
                    </a:cubicBezTo>
                    <a:cubicBezTo>
                      <a:pt x="9" y="63"/>
                      <a:pt x="9" y="63"/>
                      <a:pt x="9" y="65"/>
                    </a:cubicBezTo>
                    <a:cubicBezTo>
                      <a:pt x="10" y="66"/>
                      <a:pt x="9" y="69"/>
                      <a:pt x="11" y="71"/>
                    </a:cubicBezTo>
                    <a:cubicBezTo>
                      <a:pt x="14" y="74"/>
                      <a:pt x="15" y="76"/>
                      <a:pt x="17" y="78"/>
                    </a:cubicBezTo>
                    <a:cubicBezTo>
                      <a:pt x="20" y="79"/>
                      <a:pt x="21" y="77"/>
                      <a:pt x="21" y="80"/>
                    </a:cubicBezTo>
                    <a:cubicBezTo>
                      <a:pt x="22" y="83"/>
                      <a:pt x="20" y="82"/>
                      <a:pt x="22" y="84"/>
                    </a:cubicBezTo>
                    <a:cubicBezTo>
                      <a:pt x="23" y="85"/>
                      <a:pt x="23" y="86"/>
                      <a:pt x="22" y="87"/>
                    </a:cubicBezTo>
                    <a:cubicBezTo>
                      <a:pt x="21" y="88"/>
                      <a:pt x="21" y="87"/>
                      <a:pt x="23" y="89"/>
                    </a:cubicBezTo>
                    <a:cubicBezTo>
                      <a:pt x="26" y="90"/>
                      <a:pt x="26" y="94"/>
                      <a:pt x="28" y="93"/>
                    </a:cubicBezTo>
                    <a:cubicBezTo>
                      <a:pt x="31" y="92"/>
                      <a:pt x="32" y="90"/>
                      <a:pt x="34" y="93"/>
                    </a:cubicBezTo>
                    <a:cubicBezTo>
                      <a:pt x="35" y="96"/>
                      <a:pt x="35" y="98"/>
                      <a:pt x="36" y="96"/>
                    </a:cubicBezTo>
                    <a:cubicBezTo>
                      <a:pt x="37" y="94"/>
                      <a:pt x="40" y="91"/>
                      <a:pt x="42" y="91"/>
                    </a:cubicBezTo>
                    <a:cubicBezTo>
                      <a:pt x="44" y="92"/>
                      <a:pt x="45" y="93"/>
                      <a:pt x="46" y="94"/>
                    </a:cubicBezTo>
                    <a:cubicBezTo>
                      <a:pt x="46" y="94"/>
                      <a:pt x="44" y="95"/>
                      <a:pt x="42" y="97"/>
                    </a:cubicBezTo>
                    <a:cubicBezTo>
                      <a:pt x="41" y="98"/>
                      <a:pt x="44" y="102"/>
                      <a:pt x="46" y="103"/>
                    </a:cubicBezTo>
                    <a:cubicBezTo>
                      <a:pt x="48" y="105"/>
                      <a:pt x="52" y="106"/>
                      <a:pt x="51" y="107"/>
                    </a:cubicBezTo>
                    <a:cubicBezTo>
                      <a:pt x="50" y="108"/>
                      <a:pt x="49" y="111"/>
                      <a:pt x="50" y="112"/>
                    </a:cubicBezTo>
                    <a:cubicBezTo>
                      <a:pt x="50" y="114"/>
                      <a:pt x="53" y="115"/>
                      <a:pt x="55" y="114"/>
                    </a:cubicBezTo>
                    <a:cubicBezTo>
                      <a:pt x="56" y="112"/>
                      <a:pt x="59" y="113"/>
                      <a:pt x="61" y="114"/>
                    </a:cubicBezTo>
                    <a:cubicBezTo>
                      <a:pt x="64" y="114"/>
                      <a:pt x="67" y="115"/>
                      <a:pt x="69" y="116"/>
                    </a:cubicBezTo>
                    <a:cubicBezTo>
                      <a:pt x="72" y="117"/>
                      <a:pt x="74" y="118"/>
                      <a:pt x="76" y="117"/>
                    </a:cubicBezTo>
                    <a:cubicBezTo>
                      <a:pt x="78" y="116"/>
                      <a:pt x="79" y="115"/>
                      <a:pt x="82" y="116"/>
                    </a:cubicBezTo>
                    <a:cubicBezTo>
                      <a:pt x="85" y="117"/>
                      <a:pt x="89" y="117"/>
                      <a:pt x="92" y="117"/>
                    </a:cubicBezTo>
                    <a:cubicBezTo>
                      <a:pt x="95" y="118"/>
                      <a:pt x="96" y="120"/>
                      <a:pt x="99" y="118"/>
                    </a:cubicBezTo>
                    <a:cubicBezTo>
                      <a:pt x="103" y="116"/>
                      <a:pt x="106" y="113"/>
                      <a:pt x="108" y="111"/>
                    </a:cubicBezTo>
                    <a:cubicBezTo>
                      <a:pt x="110" y="110"/>
                      <a:pt x="111" y="109"/>
                      <a:pt x="114" y="109"/>
                    </a:cubicBezTo>
                    <a:cubicBezTo>
                      <a:pt x="118" y="109"/>
                      <a:pt x="120" y="107"/>
                      <a:pt x="123" y="106"/>
                    </a:cubicBezTo>
                    <a:cubicBezTo>
                      <a:pt x="126" y="105"/>
                      <a:pt x="127" y="105"/>
                      <a:pt x="130" y="106"/>
                    </a:cubicBezTo>
                    <a:cubicBezTo>
                      <a:pt x="133" y="107"/>
                      <a:pt x="134" y="109"/>
                      <a:pt x="135" y="109"/>
                    </a:cubicBezTo>
                    <a:cubicBezTo>
                      <a:pt x="137" y="109"/>
                      <a:pt x="136" y="108"/>
                      <a:pt x="139" y="110"/>
                    </a:cubicBezTo>
                    <a:cubicBezTo>
                      <a:pt x="141" y="111"/>
                      <a:pt x="141" y="109"/>
                      <a:pt x="144" y="111"/>
                    </a:cubicBezTo>
                    <a:cubicBezTo>
                      <a:pt x="146" y="113"/>
                      <a:pt x="148" y="116"/>
                      <a:pt x="151" y="116"/>
                    </a:cubicBezTo>
                    <a:cubicBezTo>
                      <a:pt x="154" y="117"/>
                      <a:pt x="156" y="116"/>
                      <a:pt x="156" y="116"/>
                    </a:cubicBezTo>
                    <a:cubicBezTo>
                      <a:pt x="156" y="116"/>
                      <a:pt x="156" y="111"/>
                      <a:pt x="156" y="109"/>
                    </a:cubicBezTo>
                    <a:cubicBezTo>
                      <a:pt x="156" y="106"/>
                      <a:pt x="154" y="104"/>
                      <a:pt x="155" y="101"/>
                    </a:cubicBezTo>
                    <a:cubicBezTo>
                      <a:pt x="157" y="98"/>
                      <a:pt x="160" y="95"/>
                      <a:pt x="159" y="94"/>
                    </a:cubicBezTo>
                    <a:cubicBezTo>
                      <a:pt x="159" y="93"/>
                      <a:pt x="157" y="95"/>
                      <a:pt x="157" y="93"/>
                    </a:cubicBezTo>
                    <a:cubicBezTo>
                      <a:pt x="157" y="90"/>
                      <a:pt x="159" y="91"/>
                      <a:pt x="159" y="87"/>
                    </a:cubicBezTo>
                    <a:cubicBezTo>
                      <a:pt x="158" y="84"/>
                      <a:pt x="159" y="84"/>
                      <a:pt x="160" y="83"/>
                    </a:cubicBezTo>
                    <a:cubicBezTo>
                      <a:pt x="161" y="83"/>
                      <a:pt x="162" y="85"/>
                      <a:pt x="161" y="87"/>
                    </a:cubicBezTo>
                    <a:cubicBezTo>
                      <a:pt x="161" y="90"/>
                      <a:pt x="161" y="90"/>
                      <a:pt x="163" y="89"/>
                    </a:cubicBezTo>
                    <a:cubicBezTo>
                      <a:pt x="166" y="88"/>
                      <a:pt x="168" y="89"/>
                      <a:pt x="171" y="87"/>
                    </a:cubicBezTo>
                    <a:cubicBezTo>
                      <a:pt x="173" y="85"/>
                      <a:pt x="172" y="77"/>
                      <a:pt x="172" y="77"/>
                    </a:cubicBezTo>
                    <a:cubicBezTo>
                      <a:pt x="172" y="77"/>
                      <a:pt x="171" y="75"/>
                      <a:pt x="170" y="73"/>
                    </a:cubicBezTo>
                    <a:cubicBezTo>
                      <a:pt x="169" y="72"/>
                      <a:pt x="167" y="71"/>
                      <a:pt x="165" y="72"/>
                    </a:cubicBezTo>
                    <a:cubicBezTo>
                      <a:pt x="163" y="73"/>
                      <a:pt x="158" y="74"/>
                      <a:pt x="156" y="75"/>
                    </a:cubicBezTo>
                    <a:cubicBezTo>
                      <a:pt x="154" y="77"/>
                      <a:pt x="151" y="77"/>
                      <a:pt x="149" y="76"/>
                    </a:cubicBezTo>
                    <a:cubicBezTo>
                      <a:pt x="148" y="76"/>
                      <a:pt x="144" y="71"/>
                      <a:pt x="144" y="71"/>
                    </a:cubicBezTo>
                    <a:cubicBezTo>
                      <a:pt x="143" y="69"/>
                      <a:pt x="142" y="68"/>
                      <a:pt x="143" y="67"/>
                    </a:cubicBezTo>
                    <a:cubicBezTo>
                      <a:pt x="144" y="65"/>
                      <a:pt x="143" y="64"/>
                      <a:pt x="142" y="60"/>
                    </a:cubicBezTo>
                    <a:cubicBezTo>
                      <a:pt x="141" y="57"/>
                      <a:pt x="141" y="54"/>
                      <a:pt x="142" y="51"/>
                    </a:cubicBezTo>
                    <a:cubicBezTo>
                      <a:pt x="142" y="49"/>
                      <a:pt x="143" y="47"/>
                      <a:pt x="143" y="44"/>
                    </a:cubicBezTo>
                    <a:cubicBezTo>
                      <a:pt x="142" y="41"/>
                      <a:pt x="142" y="37"/>
                      <a:pt x="140" y="34"/>
                    </a:cubicBezTo>
                    <a:cubicBezTo>
                      <a:pt x="139" y="32"/>
                      <a:pt x="138" y="31"/>
                      <a:pt x="136" y="29"/>
                    </a:cubicBezTo>
                    <a:cubicBezTo>
                      <a:pt x="133" y="27"/>
                      <a:pt x="133" y="27"/>
                      <a:pt x="132" y="26"/>
                    </a:cubicBezTo>
                    <a:cubicBezTo>
                      <a:pt x="131" y="24"/>
                      <a:pt x="130" y="22"/>
                      <a:pt x="130" y="21"/>
                    </a:cubicBezTo>
                    <a:cubicBezTo>
                      <a:pt x="130" y="20"/>
                      <a:pt x="128" y="20"/>
                      <a:pt x="126" y="18"/>
                    </a:cubicBezTo>
                    <a:cubicBezTo>
                      <a:pt x="124" y="16"/>
                      <a:pt x="122" y="11"/>
                      <a:pt x="121" y="9"/>
                    </a:cubicBezTo>
                    <a:cubicBezTo>
                      <a:pt x="120" y="6"/>
                      <a:pt x="119" y="4"/>
                      <a:pt x="117" y="3"/>
                    </a:cubicBezTo>
                    <a:cubicBezTo>
                      <a:pt x="115" y="1"/>
                      <a:pt x="112" y="0"/>
                      <a:pt x="112" y="0"/>
                    </a:cubicBezTo>
                    <a:cubicBezTo>
                      <a:pt x="111" y="0"/>
                      <a:pt x="110" y="0"/>
                      <a:pt x="107" y="1"/>
                    </a:cubicBezTo>
                    <a:cubicBezTo>
                      <a:pt x="103" y="1"/>
                      <a:pt x="104" y="3"/>
                      <a:pt x="104" y="5"/>
                    </a:cubicBezTo>
                    <a:cubicBezTo>
                      <a:pt x="103" y="8"/>
                      <a:pt x="102" y="7"/>
                      <a:pt x="97" y="8"/>
                    </a:cubicBezTo>
                    <a:cubicBezTo>
                      <a:pt x="92" y="8"/>
                      <a:pt x="89" y="8"/>
                      <a:pt x="86" y="9"/>
                    </a:cubicBezTo>
                    <a:cubicBezTo>
                      <a:pt x="84" y="10"/>
                      <a:pt x="84" y="13"/>
                      <a:pt x="83" y="13"/>
                    </a:cubicBezTo>
                    <a:cubicBezTo>
                      <a:pt x="82" y="14"/>
                      <a:pt x="77" y="10"/>
                      <a:pt x="75" y="8"/>
                    </a:cubicBezTo>
                    <a:cubicBezTo>
                      <a:pt x="72" y="6"/>
                      <a:pt x="67" y="7"/>
                      <a:pt x="65" y="7"/>
                    </a:cubicBezTo>
                    <a:cubicBezTo>
                      <a:pt x="62" y="7"/>
                      <a:pt x="60" y="6"/>
                      <a:pt x="57" y="6"/>
                    </a:cubicBezTo>
                    <a:cubicBezTo>
                      <a:pt x="54" y="7"/>
                      <a:pt x="51" y="5"/>
                      <a:pt x="49" y="5"/>
                    </a:cubicBezTo>
                    <a:cubicBezTo>
                      <a:pt x="48" y="4"/>
                      <a:pt x="45" y="6"/>
                      <a:pt x="45" y="6"/>
                    </a:cubicBezTo>
                    <a:close/>
                  </a:path>
                </a:pathLst>
              </a:custGeom>
              <a:pattFill prst="wdUpDiag">
                <a:fgClr>
                  <a:schemeClr val="accent3"/>
                </a:fgClr>
                <a:bgClr>
                  <a:schemeClr val="accent4"/>
                </a:bgClr>
              </a:patt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0" name="Freeform 64">
                <a:extLst>
                  <a:ext uri="{FF2B5EF4-FFF2-40B4-BE49-F238E27FC236}">
                    <a16:creationId xmlns:a16="http://schemas.microsoft.com/office/drawing/2014/main" id="{9A3C5C65-9D23-18B2-7CFB-172D653575B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2556" y="5216705"/>
                <a:ext cx="465202" cy="328107"/>
              </a:xfrm>
              <a:custGeom>
                <a:avLst/>
                <a:gdLst>
                  <a:gd name="T0" fmla="*/ 4 w 115"/>
                  <a:gd name="T1" fmla="*/ 0 h 81"/>
                  <a:gd name="T2" fmla="*/ 3 w 115"/>
                  <a:gd name="T3" fmla="*/ 5 h 81"/>
                  <a:gd name="T4" fmla="*/ 0 w 115"/>
                  <a:gd name="T5" fmla="*/ 11 h 81"/>
                  <a:gd name="T6" fmla="*/ 2 w 115"/>
                  <a:gd name="T7" fmla="*/ 19 h 81"/>
                  <a:gd name="T8" fmla="*/ 6 w 115"/>
                  <a:gd name="T9" fmla="*/ 22 h 81"/>
                  <a:gd name="T10" fmla="*/ 10 w 115"/>
                  <a:gd name="T11" fmla="*/ 26 h 81"/>
                  <a:gd name="T12" fmla="*/ 11 w 115"/>
                  <a:gd name="T13" fmla="*/ 31 h 81"/>
                  <a:gd name="T14" fmla="*/ 7 w 115"/>
                  <a:gd name="T15" fmla="*/ 36 h 81"/>
                  <a:gd name="T16" fmla="*/ 2 w 115"/>
                  <a:gd name="T17" fmla="*/ 37 h 81"/>
                  <a:gd name="T18" fmla="*/ 3 w 115"/>
                  <a:gd name="T19" fmla="*/ 45 h 81"/>
                  <a:gd name="T20" fmla="*/ 4 w 115"/>
                  <a:gd name="T21" fmla="*/ 48 h 81"/>
                  <a:gd name="T22" fmla="*/ 2 w 115"/>
                  <a:gd name="T23" fmla="*/ 52 h 81"/>
                  <a:gd name="T24" fmla="*/ 7 w 115"/>
                  <a:gd name="T25" fmla="*/ 58 h 81"/>
                  <a:gd name="T26" fmla="*/ 12 w 115"/>
                  <a:gd name="T27" fmla="*/ 60 h 81"/>
                  <a:gd name="T28" fmla="*/ 13 w 115"/>
                  <a:gd name="T29" fmla="*/ 67 h 81"/>
                  <a:gd name="T30" fmla="*/ 13 w 115"/>
                  <a:gd name="T31" fmla="*/ 76 h 81"/>
                  <a:gd name="T32" fmla="*/ 19 w 115"/>
                  <a:gd name="T33" fmla="*/ 78 h 81"/>
                  <a:gd name="T34" fmla="*/ 28 w 115"/>
                  <a:gd name="T35" fmla="*/ 75 h 81"/>
                  <a:gd name="T36" fmla="*/ 36 w 115"/>
                  <a:gd name="T37" fmla="*/ 73 h 81"/>
                  <a:gd name="T38" fmla="*/ 43 w 115"/>
                  <a:gd name="T39" fmla="*/ 73 h 81"/>
                  <a:gd name="T40" fmla="*/ 48 w 115"/>
                  <a:gd name="T41" fmla="*/ 76 h 81"/>
                  <a:gd name="T42" fmla="*/ 53 w 115"/>
                  <a:gd name="T43" fmla="*/ 77 h 81"/>
                  <a:gd name="T44" fmla="*/ 58 w 115"/>
                  <a:gd name="T45" fmla="*/ 80 h 81"/>
                  <a:gd name="T46" fmla="*/ 67 w 115"/>
                  <a:gd name="T47" fmla="*/ 78 h 81"/>
                  <a:gd name="T48" fmla="*/ 73 w 115"/>
                  <a:gd name="T49" fmla="*/ 74 h 81"/>
                  <a:gd name="T50" fmla="*/ 72 w 115"/>
                  <a:gd name="T51" fmla="*/ 68 h 81"/>
                  <a:gd name="T52" fmla="*/ 77 w 115"/>
                  <a:gd name="T53" fmla="*/ 66 h 81"/>
                  <a:gd name="T54" fmla="*/ 79 w 115"/>
                  <a:gd name="T55" fmla="*/ 64 h 81"/>
                  <a:gd name="T56" fmla="*/ 81 w 115"/>
                  <a:gd name="T57" fmla="*/ 60 h 81"/>
                  <a:gd name="T58" fmla="*/ 86 w 115"/>
                  <a:gd name="T59" fmla="*/ 60 h 81"/>
                  <a:gd name="T60" fmla="*/ 90 w 115"/>
                  <a:gd name="T61" fmla="*/ 57 h 81"/>
                  <a:gd name="T62" fmla="*/ 95 w 115"/>
                  <a:gd name="T63" fmla="*/ 58 h 81"/>
                  <a:gd name="T64" fmla="*/ 100 w 115"/>
                  <a:gd name="T65" fmla="*/ 61 h 81"/>
                  <a:gd name="T66" fmla="*/ 107 w 115"/>
                  <a:gd name="T67" fmla="*/ 61 h 81"/>
                  <a:gd name="T68" fmla="*/ 105 w 115"/>
                  <a:gd name="T69" fmla="*/ 57 h 81"/>
                  <a:gd name="T70" fmla="*/ 100 w 115"/>
                  <a:gd name="T71" fmla="*/ 51 h 81"/>
                  <a:gd name="T72" fmla="*/ 96 w 115"/>
                  <a:gd name="T73" fmla="*/ 47 h 81"/>
                  <a:gd name="T74" fmla="*/ 97 w 115"/>
                  <a:gd name="T75" fmla="*/ 44 h 81"/>
                  <a:gd name="T76" fmla="*/ 101 w 115"/>
                  <a:gd name="T77" fmla="*/ 40 h 81"/>
                  <a:gd name="T78" fmla="*/ 103 w 115"/>
                  <a:gd name="T79" fmla="*/ 33 h 81"/>
                  <a:gd name="T80" fmla="*/ 106 w 115"/>
                  <a:gd name="T81" fmla="*/ 24 h 81"/>
                  <a:gd name="T82" fmla="*/ 112 w 115"/>
                  <a:gd name="T83" fmla="*/ 22 h 81"/>
                  <a:gd name="T84" fmla="*/ 114 w 115"/>
                  <a:gd name="T85" fmla="*/ 18 h 81"/>
                  <a:gd name="T86" fmla="*/ 115 w 115"/>
                  <a:gd name="T87" fmla="*/ 13 h 81"/>
                  <a:gd name="T88" fmla="*/ 110 w 115"/>
                  <a:gd name="T89" fmla="*/ 13 h 81"/>
                  <a:gd name="T90" fmla="*/ 103 w 115"/>
                  <a:gd name="T91" fmla="*/ 8 h 81"/>
                  <a:gd name="T92" fmla="*/ 98 w 115"/>
                  <a:gd name="T93" fmla="*/ 7 h 81"/>
                  <a:gd name="T94" fmla="*/ 94 w 115"/>
                  <a:gd name="T95" fmla="*/ 6 h 81"/>
                  <a:gd name="T96" fmla="*/ 89 w 115"/>
                  <a:gd name="T97" fmla="*/ 3 h 81"/>
                  <a:gd name="T98" fmla="*/ 82 w 115"/>
                  <a:gd name="T99" fmla="*/ 3 h 81"/>
                  <a:gd name="T100" fmla="*/ 73 w 115"/>
                  <a:gd name="T101" fmla="*/ 6 h 81"/>
                  <a:gd name="T102" fmla="*/ 67 w 115"/>
                  <a:gd name="T103" fmla="*/ 8 h 81"/>
                  <a:gd name="T104" fmla="*/ 58 w 115"/>
                  <a:gd name="T105" fmla="*/ 15 h 81"/>
                  <a:gd name="T106" fmla="*/ 51 w 115"/>
                  <a:gd name="T107" fmla="*/ 14 h 81"/>
                  <a:gd name="T108" fmla="*/ 41 w 115"/>
                  <a:gd name="T109" fmla="*/ 13 h 81"/>
                  <a:gd name="T110" fmla="*/ 35 w 115"/>
                  <a:gd name="T111" fmla="*/ 14 h 81"/>
                  <a:gd name="T112" fmla="*/ 28 w 115"/>
                  <a:gd name="T113" fmla="*/ 13 h 81"/>
                  <a:gd name="T114" fmla="*/ 20 w 115"/>
                  <a:gd name="T115" fmla="*/ 11 h 81"/>
                  <a:gd name="T116" fmla="*/ 14 w 115"/>
                  <a:gd name="T117" fmla="*/ 11 h 81"/>
                  <a:gd name="T118" fmla="*/ 9 w 115"/>
                  <a:gd name="T119" fmla="*/ 9 h 81"/>
                  <a:gd name="T120" fmla="*/ 10 w 115"/>
                  <a:gd name="T121" fmla="*/ 4 h 81"/>
                  <a:gd name="T122" fmla="*/ 5 w 115"/>
                  <a:gd name="T123" fmla="*/ 0 h 81"/>
                  <a:gd name="T124" fmla="*/ 4 w 115"/>
                  <a:gd name="T125" fmla="*/ 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" h="81">
                    <a:moveTo>
                      <a:pt x="4" y="0"/>
                    </a:moveTo>
                    <a:cubicBezTo>
                      <a:pt x="4" y="0"/>
                      <a:pt x="5" y="2"/>
                      <a:pt x="3" y="5"/>
                    </a:cubicBezTo>
                    <a:cubicBezTo>
                      <a:pt x="1" y="7"/>
                      <a:pt x="0" y="7"/>
                      <a:pt x="0" y="11"/>
                    </a:cubicBezTo>
                    <a:cubicBezTo>
                      <a:pt x="0" y="16"/>
                      <a:pt x="1" y="16"/>
                      <a:pt x="2" y="19"/>
                    </a:cubicBezTo>
                    <a:cubicBezTo>
                      <a:pt x="4" y="21"/>
                      <a:pt x="4" y="21"/>
                      <a:pt x="6" y="22"/>
                    </a:cubicBezTo>
                    <a:cubicBezTo>
                      <a:pt x="8" y="22"/>
                      <a:pt x="9" y="24"/>
                      <a:pt x="10" y="26"/>
                    </a:cubicBezTo>
                    <a:cubicBezTo>
                      <a:pt x="11" y="28"/>
                      <a:pt x="13" y="29"/>
                      <a:pt x="11" y="31"/>
                    </a:cubicBezTo>
                    <a:cubicBezTo>
                      <a:pt x="10" y="33"/>
                      <a:pt x="8" y="35"/>
                      <a:pt x="7" y="36"/>
                    </a:cubicBezTo>
                    <a:cubicBezTo>
                      <a:pt x="6" y="37"/>
                      <a:pt x="3" y="33"/>
                      <a:pt x="2" y="37"/>
                    </a:cubicBezTo>
                    <a:cubicBezTo>
                      <a:pt x="2" y="41"/>
                      <a:pt x="2" y="44"/>
                      <a:pt x="3" y="45"/>
                    </a:cubicBezTo>
                    <a:cubicBezTo>
                      <a:pt x="4" y="47"/>
                      <a:pt x="5" y="47"/>
                      <a:pt x="4" y="48"/>
                    </a:cubicBezTo>
                    <a:cubicBezTo>
                      <a:pt x="4" y="50"/>
                      <a:pt x="2" y="52"/>
                      <a:pt x="2" y="52"/>
                    </a:cubicBezTo>
                    <a:cubicBezTo>
                      <a:pt x="2" y="52"/>
                      <a:pt x="5" y="56"/>
                      <a:pt x="7" y="58"/>
                    </a:cubicBezTo>
                    <a:cubicBezTo>
                      <a:pt x="9" y="59"/>
                      <a:pt x="11" y="57"/>
                      <a:pt x="12" y="60"/>
                    </a:cubicBezTo>
                    <a:cubicBezTo>
                      <a:pt x="12" y="62"/>
                      <a:pt x="13" y="64"/>
                      <a:pt x="13" y="67"/>
                    </a:cubicBezTo>
                    <a:cubicBezTo>
                      <a:pt x="13" y="69"/>
                      <a:pt x="13" y="76"/>
                      <a:pt x="13" y="76"/>
                    </a:cubicBezTo>
                    <a:cubicBezTo>
                      <a:pt x="13" y="76"/>
                      <a:pt x="16" y="79"/>
                      <a:pt x="19" y="78"/>
                    </a:cubicBezTo>
                    <a:cubicBezTo>
                      <a:pt x="21" y="77"/>
                      <a:pt x="24" y="75"/>
                      <a:pt x="28" y="75"/>
                    </a:cubicBezTo>
                    <a:cubicBezTo>
                      <a:pt x="31" y="75"/>
                      <a:pt x="33" y="75"/>
                      <a:pt x="36" y="73"/>
                    </a:cubicBezTo>
                    <a:cubicBezTo>
                      <a:pt x="38" y="72"/>
                      <a:pt x="40" y="71"/>
                      <a:pt x="43" y="73"/>
                    </a:cubicBezTo>
                    <a:cubicBezTo>
                      <a:pt x="45" y="74"/>
                      <a:pt x="45" y="77"/>
                      <a:pt x="48" y="76"/>
                    </a:cubicBezTo>
                    <a:cubicBezTo>
                      <a:pt x="50" y="75"/>
                      <a:pt x="51" y="76"/>
                      <a:pt x="53" y="77"/>
                    </a:cubicBezTo>
                    <a:cubicBezTo>
                      <a:pt x="56" y="78"/>
                      <a:pt x="57" y="81"/>
                      <a:pt x="58" y="80"/>
                    </a:cubicBezTo>
                    <a:cubicBezTo>
                      <a:pt x="60" y="79"/>
                      <a:pt x="64" y="78"/>
                      <a:pt x="67" y="78"/>
                    </a:cubicBezTo>
                    <a:cubicBezTo>
                      <a:pt x="70" y="78"/>
                      <a:pt x="73" y="76"/>
                      <a:pt x="73" y="74"/>
                    </a:cubicBezTo>
                    <a:cubicBezTo>
                      <a:pt x="73" y="72"/>
                      <a:pt x="70" y="68"/>
                      <a:pt x="72" y="68"/>
                    </a:cubicBezTo>
                    <a:cubicBezTo>
                      <a:pt x="74" y="67"/>
                      <a:pt x="77" y="66"/>
                      <a:pt x="77" y="66"/>
                    </a:cubicBezTo>
                    <a:cubicBezTo>
                      <a:pt x="77" y="64"/>
                      <a:pt x="78" y="65"/>
                      <a:pt x="79" y="64"/>
                    </a:cubicBezTo>
                    <a:cubicBezTo>
                      <a:pt x="80" y="62"/>
                      <a:pt x="80" y="61"/>
                      <a:pt x="81" y="60"/>
                    </a:cubicBezTo>
                    <a:cubicBezTo>
                      <a:pt x="83" y="60"/>
                      <a:pt x="85" y="61"/>
                      <a:pt x="86" y="60"/>
                    </a:cubicBezTo>
                    <a:cubicBezTo>
                      <a:pt x="88" y="60"/>
                      <a:pt x="88" y="57"/>
                      <a:pt x="90" y="57"/>
                    </a:cubicBezTo>
                    <a:cubicBezTo>
                      <a:pt x="92" y="57"/>
                      <a:pt x="93" y="56"/>
                      <a:pt x="95" y="58"/>
                    </a:cubicBezTo>
                    <a:cubicBezTo>
                      <a:pt x="97" y="61"/>
                      <a:pt x="97" y="62"/>
                      <a:pt x="100" y="61"/>
                    </a:cubicBezTo>
                    <a:cubicBezTo>
                      <a:pt x="103" y="60"/>
                      <a:pt x="107" y="61"/>
                      <a:pt x="107" y="61"/>
                    </a:cubicBezTo>
                    <a:cubicBezTo>
                      <a:pt x="107" y="61"/>
                      <a:pt x="106" y="59"/>
                      <a:pt x="105" y="57"/>
                    </a:cubicBezTo>
                    <a:cubicBezTo>
                      <a:pt x="104" y="55"/>
                      <a:pt x="101" y="53"/>
                      <a:pt x="100" y="51"/>
                    </a:cubicBezTo>
                    <a:cubicBezTo>
                      <a:pt x="99" y="49"/>
                      <a:pt x="99" y="47"/>
                      <a:pt x="96" y="47"/>
                    </a:cubicBezTo>
                    <a:cubicBezTo>
                      <a:pt x="94" y="46"/>
                      <a:pt x="96" y="44"/>
                      <a:pt x="97" y="44"/>
                    </a:cubicBezTo>
                    <a:cubicBezTo>
                      <a:pt x="99" y="43"/>
                      <a:pt x="100" y="42"/>
                      <a:pt x="101" y="40"/>
                    </a:cubicBezTo>
                    <a:cubicBezTo>
                      <a:pt x="103" y="38"/>
                      <a:pt x="103" y="35"/>
                      <a:pt x="103" y="33"/>
                    </a:cubicBezTo>
                    <a:cubicBezTo>
                      <a:pt x="103" y="31"/>
                      <a:pt x="104" y="26"/>
                      <a:pt x="106" y="24"/>
                    </a:cubicBezTo>
                    <a:cubicBezTo>
                      <a:pt x="108" y="22"/>
                      <a:pt x="109" y="23"/>
                      <a:pt x="112" y="22"/>
                    </a:cubicBezTo>
                    <a:cubicBezTo>
                      <a:pt x="114" y="21"/>
                      <a:pt x="114" y="21"/>
                      <a:pt x="114" y="18"/>
                    </a:cubicBezTo>
                    <a:cubicBezTo>
                      <a:pt x="114" y="15"/>
                      <a:pt x="115" y="13"/>
                      <a:pt x="115" y="13"/>
                    </a:cubicBezTo>
                    <a:cubicBezTo>
                      <a:pt x="115" y="13"/>
                      <a:pt x="113" y="14"/>
                      <a:pt x="110" y="13"/>
                    </a:cubicBezTo>
                    <a:cubicBezTo>
                      <a:pt x="107" y="13"/>
                      <a:pt x="105" y="10"/>
                      <a:pt x="103" y="8"/>
                    </a:cubicBezTo>
                    <a:cubicBezTo>
                      <a:pt x="100" y="6"/>
                      <a:pt x="100" y="8"/>
                      <a:pt x="98" y="7"/>
                    </a:cubicBezTo>
                    <a:cubicBezTo>
                      <a:pt x="95" y="5"/>
                      <a:pt x="96" y="6"/>
                      <a:pt x="94" y="6"/>
                    </a:cubicBezTo>
                    <a:cubicBezTo>
                      <a:pt x="93" y="6"/>
                      <a:pt x="92" y="4"/>
                      <a:pt x="89" y="3"/>
                    </a:cubicBezTo>
                    <a:cubicBezTo>
                      <a:pt x="86" y="2"/>
                      <a:pt x="85" y="2"/>
                      <a:pt x="82" y="3"/>
                    </a:cubicBezTo>
                    <a:cubicBezTo>
                      <a:pt x="79" y="4"/>
                      <a:pt x="77" y="6"/>
                      <a:pt x="73" y="6"/>
                    </a:cubicBezTo>
                    <a:cubicBezTo>
                      <a:pt x="70" y="6"/>
                      <a:pt x="69" y="7"/>
                      <a:pt x="67" y="8"/>
                    </a:cubicBezTo>
                    <a:cubicBezTo>
                      <a:pt x="65" y="10"/>
                      <a:pt x="62" y="13"/>
                      <a:pt x="58" y="15"/>
                    </a:cubicBezTo>
                    <a:cubicBezTo>
                      <a:pt x="55" y="17"/>
                      <a:pt x="54" y="15"/>
                      <a:pt x="51" y="14"/>
                    </a:cubicBezTo>
                    <a:cubicBezTo>
                      <a:pt x="48" y="14"/>
                      <a:pt x="44" y="14"/>
                      <a:pt x="41" y="13"/>
                    </a:cubicBezTo>
                    <a:cubicBezTo>
                      <a:pt x="38" y="12"/>
                      <a:pt x="37" y="13"/>
                      <a:pt x="35" y="14"/>
                    </a:cubicBezTo>
                    <a:cubicBezTo>
                      <a:pt x="33" y="15"/>
                      <a:pt x="31" y="14"/>
                      <a:pt x="28" y="13"/>
                    </a:cubicBezTo>
                    <a:cubicBezTo>
                      <a:pt x="26" y="12"/>
                      <a:pt x="23" y="11"/>
                      <a:pt x="20" y="11"/>
                    </a:cubicBezTo>
                    <a:cubicBezTo>
                      <a:pt x="18" y="10"/>
                      <a:pt x="15" y="9"/>
                      <a:pt x="14" y="11"/>
                    </a:cubicBezTo>
                    <a:cubicBezTo>
                      <a:pt x="12" y="12"/>
                      <a:pt x="9" y="11"/>
                      <a:pt x="9" y="9"/>
                    </a:cubicBezTo>
                    <a:cubicBezTo>
                      <a:pt x="8" y="8"/>
                      <a:pt x="9" y="5"/>
                      <a:pt x="10" y="4"/>
                    </a:cubicBezTo>
                    <a:cubicBezTo>
                      <a:pt x="11" y="3"/>
                      <a:pt x="7" y="2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1" name="Freeform 65">
                <a:extLst>
                  <a:ext uri="{FF2B5EF4-FFF2-40B4-BE49-F238E27FC236}">
                    <a16:creationId xmlns:a16="http://schemas.microsoft.com/office/drawing/2014/main" id="{AECE13EB-1B0A-8B08-E51C-FF5DE9AF82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63919" y="5420038"/>
                <a:ext cx="191010" cy="161743"/>
              </a:xfrm>
              <a:custGeom>
                <a:avLst/>
                <a:gdLst>
                  <a:gd name="T0" fmla="*/ 36 w 47"/>
                  <a:gd name="T1" fmla="*/ 2 h 40"/>
                  <a:gd name="T2" fmla="*/ 34 w 47"/>
                  <a:gd name="T3" fmla="*/ 0 h 40"/>
                  <a:gd name="T4" fmla="*/ 30 w 47"/>
                  <a:gd name="T5" fmla="*/ 1 h 40"/>
                  <a:gd name="T6" fmla="*/ 28 w 47"/>
                  <a:gd name="T7" fmla="*/ 1 h 40"/>
                  <a:gd name="T8" fmla="*/ 23 w 47"/>
                  <a:gd name="T9" fmla="*/ 2 h 40"/>
                  <a:gd name="T10" fmla="*/ 20 w 47"/>
                  <a:gd name="T11" fmla="*/ 3 h 40"/>
                  <a:gd name="T12" fmla="*/ 16 w 47"/>
                  <a:gd name="T13" fmla="*/ 5 h 40"/>
                  <a:gd name="T14" fmla="*/ 14 w 47"/>
                  <a:gd name="T15" fmla="*/ 6 h 40"/>
                  <a:gd name="T16" fmla="*/ 11 w 47"/>
                  <a:gd name="T17" fmla="*/ 5 h 40"/>
                  <a:gd name="T18" fmla="*/ 7 w 47"/>
                  <a:gd name="T19" fmla="*/ 8 h 40"/>
                  <a:gd name="T20" fmla="*/ 5 w 47"/>
                  <a:gd name="T21" fmla="*/ 13 h 40"/>
                  <a:gd name="T22" fmla="*/ 2 w 47"/>
                  <a:gd name="T23" fmla="*/ 17 h 40"/>
                  <a:gd name="T24" fmla="*/ 3 w 47"/>
                  <a:gd name="T25" fmla="*/ 21 h 40"/>
                  <a:gd name="T26" fmla="*/ 1 w 47"/>
                  <a:gd name="T27" fmla="*/ 24 h 40"/>
                  <a:gd name="T28" fmla="*/ 3 w 47"/>
                  <a:gd name="T29" fmla="*/ 28 h 40"/>
                  <a:gd name="T30" fmla="*/ 4 w 47"/>
                  <a:gd name="T31" fmla="*/ 32 h 40"/>
                  <a:gd name="T32" fmla="*/ 6 w 47"/>
                  <a:gd name="T33" fmla="*/ 36 h 40"/>
                  <a:gd name="T34" fmla="*/ 8 w 47"/>
                  <a:gd name="T35" fmla="*/ 39 h 40"/>
                  <a:gd name="T36" fmla="*/ 14 w 47"/>
                  <a:gd name="T37" fmla="*/ 40 h 40"/>
                  <a:gd name="T38" fmla="*/ 22 w 47"/>
                  <a:gd name="T39" fmla="*/ 39 h 40"/>
                  <a:gd name="T40" fmla="*/ 27 w 47"/>
                  <a:gd name="T41" fmla="*/ 36 h 40"/>
                  <a:gd name="T42" fmla="*/ 33 w 47"/>
                  <a:gd name="T43" fmla="*/ 33 h 40"/>
                  <a:gd name="T44" fmla="*/ 38 w 47"/>
                  <a:gd name="T45" fmla="*/ 32 h 40"/>
                  <a:gd name="T46" fmla="*/ 44 w 47"/>
                  <a:gd name="T47" fmla="*/ 30 h 40"/>
                  <a:gd name="T48" fmla="*/ 47 w 47"/>
                  <a:gd name="T49" fmla="*/ 26 h 40"/>
                  <a:gd name="T50" fmla="*/ 47 w 47"/>
                  <a:gd name="T51" fmla="*/ 17 h 40"/>
                  <a:gd name="T52" fmla="*/ 46 w 47"/>
                  <a:gd name="T53" fmla="*/ 10 h 40"/>
                  <a:gd name="T54" fmla="*/ 41 w 47"/>
                  <a:gd name="T55" fmla="*/ 8 h 40"/>
                  <a:gd name="T56" fmla="*/ 36 w 47"/>
                  <a:gd name="T57" fmla="*/ 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47" h="40">
                    <a:moveTo>
                      <a:pt x="36" y="2"/>
                    </a:moveTo>
                    <a:cubicBezTo>
                      <a:pt x="36" y="2"/>
                      <a:pt x="36" y="0"/>
                      <a:pt x="34" y="0"/>
                    </a:cubicBezTo>
                    <a:cubicBezTo>
                      <a:pt x="33" y="0"/>
                      <a:pt x="32" y="0"/>
                      <a:pt x="30" y="1"/>
                    </a:cubicBezTo>
                    <a:cubicBezTo>
                      <a:pt x="29" y="2"/>
                      <a:pt x="29" y="1"/>
                      <a:pt x="28" y="1"/>
                    </a:cubicBezTo>
                    <a:cubicBezTo>
                      <a:pt x="27" y="0"/>
                      <a:pt x="24" y="1"/>
                      <a:pt x="23" y="2"/>
                    </a:cubicBezTo>
                    <a:cubicBezTo>
                      <a:pt x="22" y="3"/>
                      <a:pt x="21" y="3"/>
                      <a:pt x="20" y="3"/>
                    </a:cubicBezTo>
                    <a:cubicBezTo>
                      <a:pt x="19" y="2"/>
                      <a:pt x="17" y="3"/>
                      <a:pt x="16" y="5"/>
                    </a:cubicBezTo>
                    <a:cubicBezTo>
                      <a:pt x="15" y="6"/>
                      <a:pt x="14" y="8"/>
                      <a:pt x="14" y="6"/>
                    </a:cubicBezTo>
                    <a:cubicBezTo>
                      <a:pt x="13" y="5"/>
                      <a:pt x="12" y="4"/>
                      <a:pt x="11" y="5"/>
                    </a:cubicBezTo>
                    <a:cubicBezTo>
                      <a:pt x="10" y="6"/>
                      <a:pt x="8" y="8"/>
                      <a:pt x="7" y="8"/>
                    </a:cubicBezTo>
                    <a:cubicBezTo>
                      <a:pt x="6" y="8"/>
                      <a:pt x="6" y="11"/>
                      <a:pt x="5" y="13"/>
                    </a:cubicBezTo>
                    <a:cubicBezTo>
                      <a:pt x="4" y="15"/>
                      <a:pt x="2" y="16"/>
                      <a:pt x="2" y="17"/>
                    </a:cubicBezTo>
                    <a:cubicBezTo>
                      <a:pt x="1" y="19"/>
                      <a:pt x="3" y="20"/>
                      <a:pt x="3" y="21"/>
                    </a:cubicBezTo>
                    <a:cubicBezTo>
                      <a:pt x="2" y="22"/>
                      <a:pt x="0" y="23"/>
                      <a:pt x="1" y="24"/>
                    </a:cubicBezTo>
                    <a:cubicBezTo>
                      <a:pt x="2" y="25"/>
                      <a:pt x="4" y="26"/>
                      <a:pt x="3" y="28"/>
                    </a:cubicBezTo>
                    <a:cubicBezTo>
                      <a:pt x="2" y="29"/>
                      <a:pt x="3" y="31"/>
                      <a:pt x="4" y="32"/>
                    </a:cubicBezTo>
                    <a:cubicBezTo>
                      <a:pt x="5" y="33"/>
                      <a:pt x="6" y="35"/>
                      <a:pt x="6" y="36"/>
                    </a:cubicBezTo>
                    <a:cubicBezTo>
                      <a:pt x="6" y="38"/>
                      <a:pt x="6" y="40"/>
                      <a:pt x="8" y="39"/>
                    </a:cubicBezTo>
                    <a:cubicBezTo>
                      <a:pt x="9" y="39"/>
                      <a:pt x="13" y="40"/>
                      <a:pt x="14" y="40"/>
                    </a:cubicBezTo>
                    <a:cubicBezTo>
                      <a:pt x="15" y="40"/>
                      <a:pt x="20" y="39"/>
                      <a:pt x="22" y="39"/>
                    </a:cubicBezTo>
                    <a:cubicBezTo>
                      <a:pt x="24" y="39"/>
                      <a:pt x="26" y="38"/>
                      <a:pt x="27" y="36"/>
                    </a:cubicBezTo>
                    <a:cubicBezTo>
                      <a:pt x="29" y="34"/>
                      <a:pt x="31" y="33"/>
                      <a:pt x="33" y="33"/>
                    </a:cubicBezTo>
                    <a:cubicBezTo>
                      <a:pt x="34" y="33"/>
                      <a:pt x="36" y="33"/>
                      <a:pt x="38" y="32"/>
                    </a:cubicBezTo>
                    <a:cubicBezTo>
                      <a:pt x="40" y="32"/>
                      <a:pt x="44" y="32"/>
                      <a:pt x="44" y="30"/>
                    </a:cubicBezTo>
                    <a:cubicBezTo>
                      <a:pt x="45" y="28"/>
                      <a:pt x="47" y="26"/>
                      <a:pt x="47" y="26"/>
                    </a:cubicBezTo>
                    <a:cubicBezTo>
                      <a:pt x="47" y="26"/>
                      <a:pt x="47" y="19"/>
                      <a:pt x="47" y="17"/>
                    </a:cubicBezTo>
                    <a:cubicBezTo>
                      <a:pt x="47" y="14"/>
                      <a:pt x="46" y="12"/>
                      <a:pt x="46" y="10"/>
                    </a:cubicBezTo>
                    <a:cubicBezTo>
                      <a:pt x="45" y="7"/>
                      <a:pt x="43" y="9"/>
                      <a:pt x="41" y="8"/>
                    </a:cubicBezTo>
                    <a:cubicBezTo>
                      <a:pt x="39" y="6"/>
                      <a:pt x="36" y="2"/>
                      <a:pt x="36" y="2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2" name="Freeform 66">
                <a:extLst>
                  <a:ext uri="{FF2B5EF4-FFF2-40B4-BE49-F238E27FC236}">
                    <a16:creationId xmlns:a16="http://schemas.microsoft.com/office/drawing/2014/main" id="{A2C378C3-67C2-6796-B908-963B419B5D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79197" y="5378447"/>
                <a:ext cx="137096" cy="348131"/>
              </a:xfrm>
              <a:custGeom>
                <a:avLst/>
                <a:gdLst>
                  <a:gd name="T0" fmla="*/ 1 w 34"/>
                  <a:gd name="T1" fmla="*/ 23 h 86"/>
                  <a:gd name="T2" fmla="*/ 2 w 34"/>
                  <a:gd name="T3" fmla="*/ 24 h 86"/>
                  <a:gd name="T4" fmla="*/ 5 w 34"/>
                  <a:gd name="T5" fmla="*/ 27 h 86"/>
                  <a:gd name="T6" fmla="*/ 4 w 34"/>
                  <a:gd name="T7" fmla="*/ 33 h 86"/>
                  <a:gd name="T8" fmla="*/ 3 w 34"/>
                  <a:gd name="T9" fmla="*/ 37 h 86"/>
                  <a:gd name="T10" fmla="*/ 4 w 34"/>
                  <a:gd name="T11" fmla="*/ 39 h 86"/>
                  <a:gd name="T12" fmla="*/ 3 w 34"/>
                  <a:gd name="T13" fmla="*/ 44 h 86"/>
                  <a:gd name="T14" fmla="*/ 5 w 34"/>
                  <a:gd name="T15" fmla="*/ 47 h 86"/>
                  <a:gd name="T16" fmla="*/ 3 w 34"/>
                  <a:gd name="T17" fmla="*/ 49 h 86"/>
                  <a:gd name="T18" fmla="*/ 1 w 34"/>
                  <a:gd name="T19" fmla="*/ 54 h 86"/>
                  <a:gd name="T20" fmla="*/ 1 w 34"/>
                  <a:gd name="T21" fmla="*/ 57 h 86"/>
                  <a:gd name="T22" fmla="*/ 4 w 34"/>
                  <a:gd name="T23" fmla="*/ 61 h 86"/>
                  <a:gd name="T24" fmla="*/ 4 w 34"/>
                  <a:gd name="T25" fmla="*/ 63 h 86"/>
                  <a:gd name="T26" fmla="*/ 2 w 34"/>
                  <a:gd name="T27" fmla="*/ 63 h 86"/>
                  <a:gd name="T28" fmla="*/ 3 w 34"/>
                  <a:gd name="T29" fmla="*/ 67 h 86"/>
                  <a:gd name="T30" fmla="*/ 7 w 34"/>
                  <a:gd name="T31" fmla="*/ 70 h 86"/>
                  <a:gd name="T32" fmla="*/ 11 w 34"/>
                  <a:gd name="T33" fmla="*/ 72 h 86"/>
                  <a:gd name="T34" fmla="*/ 15 w 34"/>
                  <a:gd name="T35" fmla="*/ 79 h 86"/>
                  <a:gd name="T36" fmla="*/ 16 w 34"/>
                  <a:gd name="T37" fmla="*/ 84 h 86"/>
                  <a:gd name="T38" fmla="*/ 20 w 34"/>
                  <a:gd name="T39" fmla="*/ 83 h 86"/>
                  <a:gd name="T40" fmla="*/ 21 w 34"/>
                  <a:gd name="T41" fmla="*/ 77 h 86"/>
                  <a:gd name="T42" fmla="*/ 23 w 34"/>
                  <a:gd name="T43" fmla="*/ 72 h 86"/>
                  <a:gd name="T44" fmla="*/ 27 w 34"/>
                  <a:gd name="T45" fmla="*/ 71 h 86"/>
                  <a:gd name="T46" fmla="*/ 29 w 34"/>
                  <a:gd name="T47" fmla="*/ 64 h 86"/>
                  <a:gd name="T48" fmla="*/ 33 w 34"/>
                  <a:gd name="T49" fmla="*/ 59 h 86"/>
                  <a:gd name="T50" fmla="*/ 33 w 34"/>
                  <a:gd name="T51" fmla="*/ 52 h 86"/>
                  <a:gd name="T52" fmla="*/ 32 w 34"/>
                  <a:gd name="T53" fmla="*/ 50 h 86"/>
                  <a:gd name="T54" fmla="*/ 32 w 34"/>
                  <a:gd name="T55" fmla="*/ 50 h 86"/>
                  <a:gd name="T56" fmla="*/ 32 w 34"/>
                  <a:gd name="T57" fmla="*/ 50 h 86"/>
                  <a:gd name="T58" fmla="*/ 29 w 34"/>
                  <a:gd name="T59" fmla="*/ 49 h 86"/>
                  <a:gd name="T60" fmla="*/ 27 w 34"/>
                  <a:gd name="T61" fmla="*/ 46 h 86"/>
                  <a:gd name="T62" fmla="*/ 25 w 34"/>
                  <a:gd name="T63" fmla="*/ 42 h 86"/>
                  <a:gd name="T64" fmla="*/ 24 w 34"/>
                  <a:gd name="T65" fmla="*/ 38 h 86"/>
                  <a:gd name="T66" fmla="*/ 22 w 34"/>
                  <a:gd name="T67" fmla="*/ 34 h 86"/>
                  <a:gd name="T68" fmla="*/ 24 w 34"/>
                  <a:gd name="T69" fmla="*/ 31 h 86"/>
                  <a:gd name="T70" fmla="*/ 23 w 34"/>
                  <a:gd name="T71" fmla="*/ 27 h 86"/>
                  <a:gd name="T72" fmla="*/ 24 w 34"/>
                  <a:gd name="T73" fmla="*/ 25 h 86"/>
                  <a:gd name="T74" fmla="*/ 23 w 34"/>
                  <a:gd name="T75" fmla="*/ 16 h 86"/>
                  <a:gd name="T76" fmla="*/ 19 w 34"/>
                  <a:gd name="T77" fmla="*/ 12 h 86"/>
                  <a:gd name="T78" fmla="*/ 17 w 34"/>
                  <a:gd name="T79" fmla="*/ 9 h 86"/>
                  <a:gd name="T80" fmla="*/ 15 w 34"/>
                  <a:gd name="T81" fmla="*/ 5 h 86"/>
                  <a:gd name="T82" fmla="*/ 14 w 34"/>
                  <a:gd name="T83" fmla="*/ 2 h 86"/>
                  <a:gd name="T84" fmla="*/ 12 w 34"/>
                  <a:gd name="T85" fmla="*/ 6 h 86"/>
                  <a:gd name="T86" fmla="*/ 8 w 34"/>
                  <a:gd name="T87" fmla="*/ 4 h 86"/>
                  <a:gd name="T88" fmla="*/ 5 w 34"/>
                  <a:gd name="T89" fmla="*/ 3 h 86"/>
                  <a:gd name="T90" fmla="*/ 2 w 34"/>
                  <a:gd name="T91" fmla="*/ 10 h 86"/>
                  <a:gd name="T92" fmla="*/ 1 w 34"/>
                  <a:gd name="T93" fmla="*/ 19 h 86"/>
                  <a:gd name="T94" fmla="*/ 1 w 34"/>
                  <a:gd name="T95" fmla="*/ 2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" h="86">
                    <a:moveTo>
                      <a:pt x="1" y="23"/>
                    </a:moveTo>
                    <a:cubicBezTo>
                      <a:pt x="1" y="23"/>
                      <a:pt x="1" y="25"/>
                      <a:pt x="2" y="24"/>
                    </a:cubicBezTo>
                    <a:cubicBezTo>
                      <a:pt x="4" y="24"/>
                      <a:pt x="5" y="25"/>
                      <a:pt x="5" y="27"/>
                    </a:cubicBezTo>
                    <a:cubicBezTo>
                      <a:pt x="5" y="29"/>
                      <a:pt x="5" y="31"/>
                      <a:pt x="4" y="33"/>
                    </a:cubicBezTo>
                    <a:cubicBezTo>
                      <a:pt x="4" y="34"/>
                      <a:pt x="2" y="35"/>
                      <a:pt x="3" y="37"/>
                    </a:cubicBezTo>
                    <a:cubicBezTo>
                      <a:pt x="3" y="38"/>
                      <a:pt x="4" y="37"/>
                      <a:pt x="4" y="39"/>
                    </a:cubicBezTo>
                    <a:cubicBezTo>
                      <a:pt x="4" y="41"/>
                      <a:pt x="3" y="42"/>
                      <a:pt x="3" y="44"/>
                    </a:cubicBezTo>
                    <a:cubicBezTo>
                      <a:pt x="3" y="46"/>
                      <a:pt x="5" y="47"/>
                      <a:pt x="5" y="47"/>
                    </a:cubicBezTo>
                    <a:cubicBezTo>
                      <a:pt x="5" y="48"/>
                      <a:pt x="4" y="49"/>
                      <a:pt x="3" y="49"/>
                    </a:cubicBezTo>
                    <a:cubicBezTo>
                      <a:pt x="3" y="49"/>
                      <a:pt x="1" y="52"/>
                      <a:pt x="1" y="54"/>
                    </a:cubicBezTo>
                    <a:cubicBezTo>
                      <a:pt x="1" y="56"/>
                      <a:pt x="0" y="55"/>
                      <a:pt x="1" y="57"/>
                    </a:cubicBezTo>
                    <a:cubicBezTo>
                      <a:pt x="3" y="59"/>
                      <a:pt x="4" y="59"/>
                      <a:pt x="4" y="61"/>
                    </a:cubicBezTo>
                    <a:cubicBezTo>
                      <a:pt x="4" y="63"/>
                      <a:pt x="5" y="62"/>
                      <a:pt x="4" y="63"/>
                    </a:cubicBezTo>
                    <a:cubicBezTo>
                      <a:pt x="3" y="64"/>
                      <a:pt x="3" y="62"/>
                      <a:pt x="2" y="63"/>
                    </a:cubicBezTo>
                    <a:cubicBezTo>
                      <a:pt x="1" y="64"/>
                      <a:pt x="1" y="64"/>
                      <a:pt x="3" y="67"/>
                    </a:cubicBezTo>
                    <a:cubicBezTo>
                      <a:pt x="4" y="70"/>
                      <a:pt x="5" y="67"/>
                      <a:pt x="7" y="70"/>
                    </a:cubicBezTo>
                    <a:cubicBezTo>
                      <a:pt x="10" y="72"/>
                      <a:pt x="10" y="70"/>
                      <a:pt x="11" y="72"/>
                    </a:cubicBezTo>
                    <a:cubicBezTo>
                      <a:pt x="13" y="74"/>
                      <a:pt x="14" y="77"/>
                      <a:pt x="15" y="79"/>
                    </a:cubicBezTo>
                    <a:cubicBezTo>
                      <a:pt x="15" y="81"/>
                      <a:pt x="14" y="82"/>
                      <a:pt x="16" y="84"/>
                    </a:cubicBezTo>
                    <a:cubicBezTo>
                      <a:pt x="17" y="86"/>
                      <a:pt x="18" y="84"/>
                      <a:pt x="20" y="83"/>
                    </a:cubicBezTo>
                    <a:cubicBezTo>
                      <a:pt x="21" y="82"/>
                      <a:pt x="22" y="80"/>
                      <a:pt x="21" y="77"/>
                    </a:cubicBezTo>
                    <a:cubicBezTo>
                      <a:pt x="21" y="74"/>
                      <a:pt x="21" y="73"/>
                      <a:pt x="23" y="72"/>
                    </a:cubicBezTo>
                    <a:cubicBezTo>
                      <a:pt x="25" y="71"/>
                      <a:pt x="26" y="73"/>
                      <a:pt x="27" y="71"/>
                    </a:cubicBezTo>
                    <a:cubicBezTo>
                      <a:pt x="28" y="70"/>
                      <a:pt x="27" y="67"/>
                      <a:pt x="29" y="64"/>
                    </a:cubicBezTo>
                    <a:cubicBezTo>
                      <a:pt x="30" y="62"/>
                      <a:pt x="32" y="61"/>
                      <a:pt x="33" y="59"/>
                    </a:cubicBezTo>
                    <a:cubicBezTo>
                      <a:pt x="34" y="56"/>
                      <a:pt x="33" y="54"/>
                      <a:pt x="33" y="52"/>
                    </a:cubicBezTo>
                    <a:cubicBezTo>
                      <a:pt x="33" y="50"/>
                      <a:pt x="32" y="50"/>
                      <a:pt x="32" y="50"/>
                    </a:cubicBezTo>
                    <a:cubicBezTo>
                      <a:pt x="32" y="50"/>
                      <a:pt x="32" y="50"/>
                      <a:pt x="32" y="50"/>
                    </a:cubicBezTo>
                    <a:cubicBezTo>
                      <a:pt x="32" y="50"/>
                      <a:pt x="32" y="50"/>
                      <a:pt x="32" y="50"/>
                    </a:cubicBezTo>
                    <a:cubicBezTo>
                      <a:pt x="31" y="49"/>
                      <a:pt x="30" y="49"/>
                      <a:pt x="29" y="49"/>
                    </a:cubicBezTo>
                    <a:cubicBezTo>
                      <a:pt x="27" y="50"/>
                      <a:pt x="27" y="48"/>
                      <a:pt x="27" y="46"/>
                    </a:cubicBezTo>
                    <a:cubicBezTo>
                      <a:pt x="27" y="45"/>
                      <a:pt x="26" y="43"/>
                      <a:pt x="25" y="42"/>
                    </a:cubicBezTo>
                    <a:cubicBezTo>
                      <a:pt x="24" y="41"/>
                      <a:pt x="23" y="39"/>
                      <a:pt x="24" y="38"/>
                    </a:cubicBezTo>
                    <a:cubicBezTo>
                      <a:pt x="25" y="36"/>
                      <a:pt x="23" y="35"/>
                      <a:pt x="22" y="34"/>
                    </a:cubicBezTo>
                    <a:cubicBezTo>
                      <a:pt x="21" y="33"/>
                      <a:pt x="23" y="32"/>
                      <a:pt x="24" y="31"/>
                    </a:cubicBezTo>
                    <a:cubicBezTo>
                      <a:pt x="24" y="30"/>
                      <a:pt x="22" y="29"/>
                      <a:pt x="23" y="27"/>
                    </a:cubicBezTo>
                    <a:cubicBezTo>
                      <a:pt x="23" y="27"/>
                      <a:pt x="24" y="26"/>
                      <a:pt x="24" y="25"/>
                    </a:cubicBezTo>
                    <a:cubicBezTo>
                      <a:pt x="24" y="25"/>
                      <a:pt x="24" y="18"/>
                      <a:pt x="23" y="16"/>
                    </a:cubicBezTo>
                    <a:cubicBezTo>
                      <a:pt x="23" y="14"/>
                      <a:pt x="21" y="13"/>
                      <a:pt x="19" y="12"/>
                    </a:cubicBezTo>
                    <a:cubicBezTo>
                      <a:pt x="18" y="11"/>
                      <a:pt x="17" y="11"/>
                      <a:pt x="17" y="9"/>
                    </a:cubicBezTo>
                    <a:cubicBezTo>
                      <a:pt x="17" y="7"/>
                      <a:pt x="16" y="7"/>
                      <a:pt x="15" y="5"/>
                    </a:cubicBezTo>
                    <a:cubicBezTo>
                      <a:pt x="14" y="4"/>
                      <a:pt x="15" y="0"/>
                      <a:pt x="14" y="2"/>
                    </a:cubicBezTo>
                    <a:cubicBezTo>
                      <a:pt x="13" y="4"/>
                      <a:pt x="14" y="5"/>
                      <a:pt x="12" y="6"/>
                    </a:cubicBezTo>
                    <a:cubicBezTo>
                      <a:pt x="9" y="6"/>
                      <a:pt x="8" y="7"/>
                      <a:pt x="8" y="4"/>
                    </a:cubicBezTo>
                    <a:cubicBezTo>
                      <a:pt x="7" y="2"/>
                      <a:pt x="7" y="1"/>
                      <a:pt x="5" y="3"/>
                    </a:cubicBezTo>
                    <a:cubicBezTo>
                      <a:pt x="4" y="6"/>
                      <a:pt x="4" y="7"/>
                      <a:pt x="2" y="10"/>
                    </a:cubicBezTo>
                    <a:cubicBezTo>
                      <a:pt x="1" y="12"/>
                      <a:pt x="1" y="17"/>
                      <a:pt x="1" y="19"/>
                    </a:cubicBezTo>
                    <a:cubicBezTo>
                      <a:pt x="1" y="22"/>
                      <a:pt x="1" y="23"/>
                      <a:pt x="1" y="23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3" name="Freeform 67">
                <a:extLst>
                  <a:ext uri="{FF2B5EF4-FFF2-40B4-BE49-F238E27FC236}">
                    <a16:creationId xmlns:a16="http://schemas.microsoft.com/office/drawing/2014/main" id="{5CC29E0D-A477-8F73-47F0-813C2CAB3C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03465" y="5099634"/>
                <a:ext cx="292677" cy="311162"/>
              </a:xfrm>
              <a:custGeom>
                <a:avLst/>
                <a:gdLst>
                  <a:gd name="T0" fmla="*/ 52 w 72"/>
                  <a:gd name="T1" fmla="*/ 76 h 77"/>
                  <a:gd name="T2" fmla="*/ 50 w 72"/>
                  <a:gd name="T3" fmla="*/ 75 h 77"/>
                  <a:gd name="T4" fmla="*/ 46 w 72"/>
                  <a:gd name="T5" fmla="*/ 71 h 77"/>
                  <a:gd name="T6" fmla="*/ 39 w 72"/>
                  <a:gd name="T7" fmla="*/ 66 h 77"/>
                  <a:gd name="T8" fmla="*/ 36 w 72"/>
                  <a:gd name="T9" fmla="*/ 59 h 77"/>
                  <a:gd name="T10" fmla="*/ 30 w 72"/>
                  <a:gd name="T11" fmla="*/ 55 h 77"/>
                  <a:gd name="T12" fmla="*/ 23 w 72"/>
                  <a:gd name="T13" fmla="*/ 45 h 77"/>
                  <a:gd name="T14" fmla="*/ 17 w 72"/>
                  <a:gd name="T15" fmla="*/ 38 h 77"/>
                  <a:gd name="T16" fmla="*/ 10 w 72"/>
                  <a:gd name="T17" fmla="*/ 31 h 77"/>
                  <a:gd name="T18" fmla="*/ 5 w 72"/>
                  <a:gd name="T19" fmla="*/ 19 h 77"/>
                  <a:gd name="T20" fmla="*/ 1 w 72"/>
                  <a:gd name="T21" fmla="*/ 13 h 77"/>
                  <a:gd name="T22" fmla="*/ 0 w 72"/>
                  <a:gd name="T23" fmla="*/ 5 h 77"/>
                  <a:gd name="T24" fmla="*/ 4 w 72"/>
                  <a:gd name="T25" fmla="*/ 3 h 77"/>
                  <a:gd name="T26" fmla="*/ 10 w 72"/>
                  <a:gd name="T27" fmla="*/ 9 h 77"/>
                  <a:gd name="T28" fmla="*/ 15 w 72"/>
                  <a:gd name="T29" fmla="*/ 3 h 77"/>
                  <a:gd name="T30" fmla="*/ 20 w 72"/>
                  <a:gd name="T31" fmla="*/ 3 h 77"/>
                  <a:gd name="T32" fmla="*/ 22 w 72"/>
                  <a:gd name="T33" fmla="*/ 2 h 77"/>
                  <a:gd name="T34" fmla="*/ 28 w 72"/>
                  <a:gd name="T35" fmla="*/ 4 h 77"/>
                  <a:gd name="T36" fmla="*/ 35 w 72"/>
                  <a:gd name="T37" fmla="*/ 6 h 77"/>
                  <a:gd name="T38" fmla="*/ 39 w 72"/>
                  <a:gd name="T39" fmla="*/ 7 h 77"/>
                  <a:gd name="T40" fmla="*/ 43 w 72"/>
                  <a:gd name="T41" fmla="*/ 6 h 77"/>
                  <a:gd name="T42" fmla="*/ 47 w 72"/>
                  <a:gd name="T43" fmla="*/ 7 h 77"/>
                  <a:gd name="T44" fmla="*/ 51 w 72"/>
                  <a:gd name="T45" fmla="*/ 7 h 77"/>
                  <a:gd name="T46" fmla="*/ 55 w 72"/>
                  <a:gd name="T47" fmla="*/ 9 h 77"/>
                  <a:gd name="T48" fmla="*/ 59 w 72"/>
                  <a:gd name="T49" fmla="*/ 12 h 77"/>
                  <a:gd name="T50" fmla="*/ 61 w 72"/>
                  <a:gd name="T51" fmla="*/ 11 h 77"/>
                  <a:gd name="T52" fmla="*/ 61 w 72"/>
                  <a:gd name="T53" fmla="*/ 11 h 77"/>
                  <a:gd name="T54" fmla="*/ 61 w 72"/>
                  <a:gd name="T55" fmla="*/ 11 h 77"/>
                  <a:gd name="T56" fmla="*/ 63 w 72"/>
                  <a:gd name="T57" fmla="*/ 11 h 77"/>
                  <a:gd name="T58" fmla="*/ 65 w 72"/>
                  <a:gd name="T59" fmla="*/ 14 h 77"/>
                  <a:gd name="T60" fmla="*/ 62 w 72"/>
                  <a:gd name="T61" fmla="*/ 24 h 77"/>
                  <a:gd name="T62" fmla="*/ 65 w 72"/>
                  <a:gd name="T63" fmla="*/ 28 h 77"/>
                  <a:gd name="T64" fmla="*/ 68 w 72"/>
                  <a:gd name="T65" fmla="*/ 31 h 77"/>
                  <a:gd name="T66" fmla="*/ 71 w 72"/>
                  <a:gd name="T67" fmla="*/ 35 h 77"/>
                  <a:gd name="T68" fmla="*/ 67 w 72"/>
                  <a:gd name="T69" fmla="*/ 35 h 77"/>
                  <a:gd name="T70" fmla="*/ 66 w 72"/>
                  <a:gd name="T71" fmla="*/ 38 h 77"/>
                  <a:gd name="T72" fmla="*/ 69 w 72"/>
                  <a:gd name="T73" fmla="*/ 43 h 77"/>
                  <a:gd name="T74" fmla="*/ 67 w 72"/>
                  <a:gd name="T75" fmla="*/ 46 h 77"/>
                  <a:gd name="T76" fmla="*/ 63 w 72"/>
                  <a:gd name="T77" fmla="*/ 48 h 77"/>
                  <a:gd name="T78" fmla="*/ 60 w 72"/>
                  <a:gd name="T79" fmla="*/ 49 h 77"/>
                  <a:gd name="T80" fmla="*/ 61 w 72"/>
                  <a:gd name="T81" fmla="*/ 54 h 77"/>
                  <a:gd name="T82" fmla="*/ 58 w 72"/>
                  <a:gd name="T83" fmla="*/ 53 h 77"/>
                  <a:gd name="T84" fmla="*/ 55 w 72"/>
                  <a:gd name="T85" fmla="*/ 58 h 77"/>
                  <a:gd name="T86" fmla="*/ 52 w 72"/>
                  <a:gd name="T87" fmla="*/ 61 h 77"/>
                  <a:gd name="T88" fmla="*/ 51 w 72"/>
                  <a:gd name="T89" fmla="*/ 66 h 77"/>
                  <a:gd name="T90" fmla="*/ 53 w 72"/>
                  <a:gd name="T91" fmla="*/ 71 h 77"/>
                  <a:gd name="T92" fmla="*/ 52 w 72"/>
                  <a:gd name="T93" fmla="*/ 74 h 77"/>
                  <a:gd name="T94" fmla="*/ 52 w 72"/>
                  <a:gd name="T95" fmla="*/ 7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72" h="77">
                    <a:moveTo>
                      <a:pt x="52" y="76"/>
                    </a:moveTo>
                    <a:cubicBezTo>
                      <a:pt x="52" y="76"/>
                      <a:pt x="51" y="77"/>
                      <a:pt x="50" y="75"/>
                    </a:cubicBezTo>
                    <a:cubicBezTo>
                      <a:pt x="48" y="74"/>
                      <a:pt x="47" y="72"/>
                      <a:pt x="46" y="71"/>
                    </a:cubicBezTo>
                    <a:cubicBezTo>
                      <a:pt x="44" y="70"/>
                      <a:pt x="41" y="68"/>
                      <a:pt x="39" y="66"/>
                    </a:cubicBezTo>
                    <a:cubicBezTo>
                      <a:pt x="38" y="65"/>
                      <a:pt x="38" y="61"/>
                      <a:pt x="36" y="59"/>
                    </a:cubicBezTo>
                    <a:cubicBezTo>
                      <a:pt x="34" y="57"/>
                      <a:pt x="32" y="57"/>
                      <a:pt x="30" y="55"/>
                    </a:cubicBezTo>
                    <a:cubicBezTo>
                      <a:pt x="29" y="52"/>
                      <a:pt x="25" y="47"/>
                      <a:pt x="23" y="45"/>
                    </a:cubicBezTo>
                    <a:cubicBezTo>
                      <a:pt x="21" y="43"/>
                      <a:pt x="19" y="40"/>
                      <a:pt x="17" y="38"/>
                    </a:cubicBezTo>
                    <a:cubicBezTo>
                      <a:pt x="15" y="36"/>
                      <a:pt x="12" y="34"/>
                      <a:pt x="10" y="31"/>
                    </a:cubicBezTo>
                    <a:cubicBezTo>
                      <a:pt x="9" y="28"/>
                      <a:pt x="8" y="21"/>
                      <a:pt x="5" y="19"/>
                    </a:cubicBezTo>
                    <a:cubicBezTo>
                      <a:pt x="3" y="17"/>
                      <a:pt x="2" y="17"/>
                      <a:pt x="1" y="13"/>
                    </a:cubicBezTo>
                    <a:cubicBezTo>
                      <a:pt x="0" y="9"/>
                      <a:pt x="1" y="8"/>
                      <a:pt x="0" y="5"/>
                    </a:cubicBezTo>
                    <a:cubicBezTo>
                      <a:pt x="0" y="3"/>
                      <a:pt x="2" y="0"/>
                      <a:pt x="4" y="3"/>
                    </a:cubicBezTo>
                    <a:cubicBezTo>
                      <a:pt x="6" y="5"/>
                      <a:pt x="9" y="11"/>
                      <a:pt x="10" y="9"/>
                    </a:cubicBezTo>
                    <a:cubicBezTo>
                      <a:pt x="12" y="7"/>
                      <a:pt x="13" y="2"/>
                      <a:pt x="15" y="3"/>
                    </a:cubicBezTo>
                    <a:cubicBezTo>
                      <a:pt x="16" y="4"/>
                      <a:pt x="19" y="5"/>
                      <a:pt x="20" y="3"/>
                    </a:cubicBezTo>
                    <a:cubicBezTo>
                      <a:pt x="20" y="1"/>
                      <a:pt x="21" y="1"/>
                      <a:pt x="22" y="2"/>
                    </a:cubicBezTo>
                    <a:cubicBezTo>
                      <a:pt x="24" y="4"/>
                      <a:pt x="26" y="4"/>
                      <a:pt x="28" y="4"/>
                    </a:cubicBezTo>
                    <a:cubicBezTo>
                      <a:pt x="30" y="5"/>
                      <a:pt x="33" y="5"/>
                      <a:pt x="35" y="6"/>
                    </a:cubicBezTo>
                    <a:cubicBezTo>
                      <a:pt x="36" y="7"/>
                      <a:pt x="37" y="8"/>
                      <a:pt x="39" y="7"/>
                    </a:cubicBezTo>
                    <a:cubicBezTo>
                      <a:pt x="41" y="6"/>
                      <a:pt x="41" y="5"/>
                      <a:pt x="43" y="6"/>
                    </a:cubicBezTo>
                    <a:cubicBezTo>
                      <a:pt x="44" y="7"/>
                      <a:pt x="46" y="7"/>
                      <a:pt x="47" y="7"/>
                    </a:cubicBezTo>
                    <a:cubicBezTo>
                      <a:pt x="49" y="6"/>
                      <a:pt x="50" y="6"/>
                      <a:pt x="51" y="7"/>
                    </a:cubicBezTo>
                    <a:cubicBezTo>
                      <a:pt x="53" y="8"/>
                      <a:pt x="54" y="7"/>
                      <a:pt x="55" y="9"/>
                    </a:cubicBezTo>
                    <a:cubicBezTo>
                      <a:pt x="56" y="12"/>
                      <a:pt x="57" y="14"/>
                      <a:pt x="59" y="12"/>
                    </a:cubicBezTo>
                    <a:cubicBezTo>
                      <a:pt x="60" y="11"/>
                      <a:pt x="61" y="11"/>
                      <a:pt x="61" y="11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1"/>
                      <a:pt x="61" y="11"/>
                      <a:pt x="61" y="11"/>
                    </a:cubicBezTo>
                    <a:cubicBezTo>
                      <a:pt x="61" y="11"/>
                      <a:pt x="62" y="10"/>
                      <a:pt x="63" y="11"/>
                    </a:cubicBezTo>
                    <a:cubicBezTo>
                      <a:pt x="64" y="11"/>
                      <a:pt x="65" y="10"/>
                      <a:pt x="65" y="14"/>
                    </a:cubicBezTo>
                    <a:cubicBezTo>
                      <a:pt x="65" y="17"/>
                      <a:pt x="63" y="21"/>
                      <a:pt x="62" y="24"/>
                    </a:cubicBezTo>
                    <a:cubicBezTo>
                      <a:pt x="61" y="26"/>
                      <a:pt x="62" y="27"/>
                      <a:pt x="65" y="28"/>
                    </a:cubicBezTo>
                    <a:cubicBezTo>
                      <a:pt x="67" y="30"/>
                      <a:pt x="67" y="29"/>
                      <a:pt x="68" y="31"/>
                    </a:cubicBezTo>
                    <a:cubicBezTo>
                      <a:pt x="70" y="34"/>
                      <a:pt x="71" y="33"/>
                      <a:pt x="71" y="35"/>
                    </a:cubicBezTo>
                    <a:cubicBezTo>
                      <a:pt x="72" y="37"/>
                      <a:pt x="69" y="36"/>
                      <a:pt x="67" y="35"/>
                    </a:cubicBezTo>
                    <a:cubicBezTo>
                      <a:pt x="65" y="35"/>
                      <a:pt x="66" y="36"/>
                      <a:pt x="66" y="38"/>
                    </a:cubicBezTo>
                    <a:cubicBezTo>
                      <a:pt x="66" y="39"/>
                      <a:pt x="69" y="41"/>
                      <a:pt x="69" y="43"/>
                    </a:cubicBezTo>
                    <a:cubicBezTo>
                      <a:pt x="70" y="44"/>
                      <a:pt x="69" y="46"/>
                      <a:pt x="67" y="46"/>
                    </a:cubicBezTo>
                    <a:cubicBezTo>
                      <a:pt x="65" y="47"/>
                      <a:pt x="65" y="48"/>
                      <a:pt x="63" y="48"/>
                    </a:cubicBezTo>
                    <a:cubicBezTo>
                      <a:pt x="62" y="48"/>
                      <a:pt x="60" y="47"/>
                      <a:pt x="60" y="49"/>
                    </a:cubicBezTo>
                    <a:cubicBezTo>
                      <a:pt x="60" y="50"/>
                      <a:pt x="61" y="52"/>
                      <a:pt x="61" y="54"/>
                    </a:cubicBezTo>
                    <a:cubicBezTo>
                      <a:pt x="61" y="56"/>
                      <a:pt x="59" y="53"/>
                      <a:pt x="58" y="53"/>
                    </a:cubicBezTo>
                    <a:cubicBezTo>
                      <a:pt x="57" y="54"/>
                      <a:pt x="55" y="55"/>
                      <a:pt x="55" y="58"/>
                    </a:cubicBezTo>
                    <a:cubicBezTo>
                      <a:pt x="54" y="61"/>
                      <a:pt x="54" y="62"/>
                      <a:pt x="52" y="61"/>
                    </a:cubicBezTo>
                    <a:cubicBezTo>
                      <a:pt x="51" y="61"/>
                      <a:pt x="51" y="64"/>
                      <a:pt x="51" y="66"/>
                    </a:cubicBezTo>
                    <a:cubicBezTo>
                      <a:pt x="52" y="68"/>
                      <a:pt x="54" y="70"/>
                      <a:pt x="53" y="71"/>
                    </a:cubicBezTo>
                    <a:cubicBezTo>
                      <a:pt x="53" y="72"/>
                      <a:pt x="52" y="73"/>
                      <a:pt x="52" y="74"/>
                    </a:cubicBezTo>
                    <a:cubicBezTo>
                      <a:pt x="52" y="75"/>
                      <a:pt x="52" y="75"/>
                      <a:pt x="52" y="76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4" name="Freeform 68">
                <a:extLst>
                  <a:ext uri="{FF2B5EF4-FFF2-40B4-BE49-F238E27FC236}">
                    <a16:creationId xmlns:a16="http://schemas.microsoft.com/office/drawing/2014/main" id="{AE733B80-07EF-007D-85C3-B7005367BD5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34020" y="4973321"/>
                <a:ext cx="437475" cy="397424"/>
              </a:xfrm>
              <a:custGeom>
                <a:avLst/>
                <a:gdLst>
                  <a:gd name="T0" fmla="*/ 77 w 108"/>
                  <a:gd name="T1" fmla="*/ 97 h 98"/>
                  <a:gd name="T2" fmla="*/ 65 w 108"/>
                  <a:gd name="T3" fmla="*/ 96 h 98"/>
                  <a:gd name="T4" fmla="*/ 65 w 108"/>
                  <a:gd name="T5" fmla="*/ 94 h 98"/>
                  <a:gd name="T6" fmla="*/ 75 w 108"/>
                  <a:gd name="T7" fmla="*/ 94 h 98"/>
                  <a:gd name="T8" fmla="*/ 67 w 108"/>
                  <a:gd name="T9" fmla="*/ 85 h 98"/>
                  <a:gd name="T10" fmla="*/ 55 w 108"/>
                  <a:gd name="T11" fmla="*/ 78 h 98"/>
                  <a:gd name="T12" fmla="*/ 46 w 108"/>
                  <a:gd name="T13" fmla="*/ 78 h 98"/>
                  <a:gd name="T14" fmla="*/ 39 w 108"/>
                  <a:gd name="T15" fmla="*/ 69 h 98"/>
                  <a:gd name="T16" fmla="*/ 33 w 108"/>
                  <a:gd name="T17" fmla="*/ 64 h 98"/>
                  <a:gd name="T18" fmla="*/ 31 w 108"/>
                  <a:gd name="T19" fmla="*/ 60 h 98"/>
                  <a:gd name="T20" fmla="*/ 37 w 108"/>
                  <a:gd name="T21" fmla="*/ 58 h 98"/>
                  <a:gd name="T22" fmla="*/ 27 w 108"/>
                  <a:gd name="T23" fmla="*/ 46 h 98"/>
                  <a:gd name="T24" fmla="*/ 21 w 108"/>
                  <a:gd name="T25" fmla="*/ 33 h 98"/>
                  <a:gd name="T26" fmla="*/ 14 w 108"/>
                  <a:gd name="T27" fmla="*/ 37 h 98"/>
                  <a:gd name="T28" fmla="*/ 10 w 108"/>
                  <a:gd name="T29" fmla="*/ 44 h 98"/>
                  <a:gd name="T30" fmla="*/ 3 w 108"/>
                  <a:gd name="T31" fmla="*/ 37 h 98"/>
                  <a:gd name="T32" fmla="*/ 2 w 108"/>
                  <a:gd name="T33" fmla="*/ 28 h 98"/>
                  <a:gd name="T34" fmla="*/ 15 w 108"/>
                  <a:gd name="T35" fmla="*/ 27 h 98"/>
                  <a:gd name="T36" fmla="*/ 22 w 108"/>
                  <a:gd name="T37" fmla="*/ 25 h 98"/>
                  <a:gd name="T38" fmla="*/ 33 w 108"/>
                  <a:gd name="T39" fmla="*/ 29 h 98"/>
                  <a:gd name="T40" fmla="*/ 38 w 108"/>
                  <a:gd name="T41" fmla="*/ 19 h 98"/>
                  <a:gd name="T42" fmla="*/ 39 w 108"/>
                  <a:gd name="T43" fmla="*/ 8 h 98"/>
                  <a:gd name="T44" fmla="*/ 50 w 108"/>
                  <a:gd name="T45" fmla="*/ 4 h 98"/>
                  <a:gd name="T46" fmla="*/ 58 w 108"/>
                  <a:gd name="T47" fmla="*/ 2 h 98"/>
                  <a:gd name="T48" fmla="*/ 67 w 108"/>
                  <a:gd name="T49" fmla="*/ 11 h 98"/>
                  <a:gd name="T50" fmla="*/ 76 w 108"/>
                  <a:gd name="T51" fmla="*/ 17 h 98"/>
                  <a:gd name="T52" fmla="*/ 89 w 108"/>
                  <a:gd name="T53" fmla="*/ 20 h 98"/>
                  <a:gd name="T54" fmla="*/ 97 w 108"/>
                  <a:gd name="T55" fmla="*/ 16 h 98"/>
                  <a:gd name="T56" fmla="*/ 99 w 108"/>
                  <a:gd name="T57" fmla="*/ 25 h 98"/>
                  <a:gd name="T58" fmla="*/ 104 w 108"/>
                  <a:gd name="T59" fmla="*/ 33 h 98"/>
                  <a:gd name="T60" fmla="*/ 103 w 108"/>
                  <a:gd name="T61" fmla="*/ 37 h 98"/>
                  <a:gd name="T62" fmla="*/ 101 w 108"/>
                  <a:gd name="T63" fmla="*/ 43 h 98"/>
                  <a:gd name="T64" fmla="*/ 93 w 108"/>
                  <a:gd name="T65" fmla="*/ 38 h 98"/>
                  <a:gd name="T66" fmla="*/ 85 w 108"/>
                  <a:gd name="T67" fmla="*/ 37 h 98"/>
                  <a:gd name="T68" fmla="*/ 77 w 108"/>
                  <a:gd name="T69" fmla="*/ 37 h 98"/>
                  <a:gd name="T70" fmla="*/ 64 w 108"/>
                  <a:gd name="T71" fmla="*/ 33 h 98"/>
                  <a:gd name="T72" fmla="*/ 57 w 108"/>
                  <a:gd name="T73" fmla="*/ 34 h 98"/>
                  <a:gd name="T74" fmla="*/ 46 w 108"/>
                  <a:gd name="T75" fmla="*/ 34 h 98"/>
                  <a:gd name="T76" fmla="*/ 43 w 108"/>
                  <a:gd name="T77" fmla="*/ 44 h 98"/>
                  <a:gd name="T78" fmla="*/ 52 w 108"/>
                  <a:gd name="T79" fmla="*/ 62 h 98"/>
                  <a:gd name="T80" fmla="*/ 65 w 108"/>
                  <a:gd name="T81" fmla="*/ 76 h 98"/>
                  <a:gd name="T82" fmla="*/ 78 w 108"/>
                  <a:gd name="T8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8" h="98">
                    <a:moveTo>
                      <a:pt x="81" y="97"/>
                    </a:moveTo>
                    <a:cubicBezTo>
                      <a:pt x="81" y="97"/>
                      <a:pt x="79" y="98"/>
                      <a:pt x="77" y="97"/>
                    </a:cubicBezTo>
                    <a:cubicBezTo>
                      <a:pt x="75" y="96"/>
                      <a:pt x="73" y="93"/>
                      <a:pt x="71" y="94"/>
                    </a:cubicBezTo>
                    <a:cubicBezTo>
                      <a:pt x="69" y="95"/>
                      <a:pt x="66" y="95"/>
                      <a:pt x="65" y="96"/>
                    </a:cubicBezTo>
                    <a:cubicBezTo>
                      <a:pt x="63" y="96"/>
                      <a:pt x="60" y="96"/>
                      <a:pt x="61" y="95"/>
                    </a:cubicBezTo>
                    <a:cubicBezTo>
                      <a:pt x="61" y="93"/>
                      <a:pt x="64" y="94"/>
                      <a:pt x="65" y="94"/>
                    </a:cubicBezTo>
                    <a:cubicBezTo>
                      <a:pt x="67" y="93"/>
                      <a:pt x="70" y="92"/>
                      <a:pt x="71" y="92"/>
                    </a:cubicBezTo>
                    <a:cubicBezTo>
                      <a:pt x="72" y="92"/>
                      <a:pt x="75" y="94"/>
                      <a:pt x="75" y="94"/>
                    </a:cubicBezTo>
                    <a:cubicBezTo>
                      <a:pt x="76" y="93"/>
                      <a:pt x="73" y="91"/>
                      <a:pt x="72" y="89"/>
                    </a:cubicBezTo>
                    <a:cubicBezTo>
                      <a:pt x="71" y="87"/>
                      <a:pt x="68" y="88"/>
                      <a:pt x="67" y="85"/>
                    </a:cubicBezTo>
                    <a:cubicBezTo>
                      <a:pt x="65" y="83"/>
                      <a:pt x="63" y="80"/>
                      <a:pt x="61" y="80"/>
                    </a:cubicBezTo>
                    <a:cubicBezTo>
                      <a:pt x="58" y="80"/>
                      <a:pt x="56" y="78"/>
                      <a:pt x="55" y="78"/>
                    </a:cubicBezTo>
                    <a:cubicBezTo>
                      <a:pt x="54" y="77"/>
                      <a:pt x="52" y="79"/>
                      <a:pt x="51" y="79"/>
                    </a:cubicBezTo>
                    <a:cubicBezTo>
                      <a:pt x="50" y="79"/>
                      <a:pt x="46" y="79"/>
                      <a:pt x="46" y="78"/>
                    </a:cubicBezTo>
                    <a:cubicBezTo>
                      <a:pt x="46" y="76"/>
                      <a:pt x="46" y="74"/>
                      <a:pt x="45" y="73"/>
                    </a:cubicBezTo>
                    <a:cubicBezTo>
                      <a:pt x="43" y="73"/>
                      <a:pt x="40" y="70"/>
                      <a:pt x="39" y="69"/>
                    </a:cubicBezTo>
                    <a:cubicBezTo>
                      <a:pt x="37" y="68"/>
                      <a:pt x="36" y="67"/>
                      <a:pt x="34" y="66"/>
                    </a:cubicBezTo>
                    <a:cubicBezTo>
                      <a:pt x="31" y="65"/>
                      <a:pt x="32" y="64"/>
                      <a:pt x="33" y="64"/>
                    </a:cubicBezTo>
                    <a:cubicBezTo>
                      <a:pt x="34" y="65"/>
                      <a:pt x="36" y="67"/>
                      <a:pt x="36" y="66"/>
                    </a:cubicBezTo>
                    <a:cubicBezTo>
                      <a:pt x="35" y="64"/>
                      <a:pt x="31" y="62"/>
                      <a:pt x="31" y="60"/>
                    </a:cubicBezTo>
                    <a:cubicBezTo>
                      <a:pt x="30" y="58"/>
                      <a:pt x="33" y="58"/>
                      <a:pt x="35" y="59"/>
                    </a:cubicBezTo>
                    <a:cubicBezTo>
                      <a:pt x="36" y="59"/>
                      <a:pt x="39" y="59"/>
                      <a:pt x="37" y="58"/>
                    </a:cubicBezTo>
                    <a:cubicBezTo>
                      <a:pt x="36" y="57"/>
                      <a:pt x="31" y="54"/>
                      <a:pt x="30" y="53"/>
                    </a:cubicBezTo>
                    <a:cubicBezTo>
                      <a:pt x="29" y="52"/>
                      <a:pt x="27" y="48"/>
                      <a:pt x="27" y="46"/>
                    </a:cubicBezTo>
                    <a:cubicBezTo>
                      <a:pt x="27" y="45"/>
                      <a:pt x="26" y="41"/>
                      <a:pt x="25" y="39"/>
                    </a:cubicBezTo>
                    <a:cubicBezTo>
                      <a:pt x="25" y="38"/>
                      <a:pt x="23" y="35"/>
                      <a:pt x="21" y="33"/>
                    </a:cubicBezTo>
                    <a:cubicBezTo>
                      <a:pt x="19" y="32"/>
                      <a:pt x="17" y="30"/>
                      <a:pt x="16" y="32"/>
                    </a:cubicBezTo>
                    <a:cubicBezTo>
                      <a:pt x="16" y="33"/>
                      <a:pt x="14" y="35"/>
                      <a:pt x="14" y="37"/>
                    </a:cubicBezTo>
                    <a:cubicBezTo>
                      <a:pt x="13" y="39"/>
                      <a:pt x="12" y="40"/>
                      <a:pt x="11" y="40"/>
                    </a:cubicBezTo>
                    <a:cubicBezTo>
                      <a:pt x="10" y="40"/>
                      <a:pt x="10" y="42"/>
                      <a:pt x="10" y="44"/>
                    </a:cubicBezTo>
                    <a:cubicBezTo>
                      <a:pt x="10" y="46"/>
                      <a:pt x="8" y="46"/>
                      <a:pt x="7" y="44"/>
                    </a:cubicBezTo>
                    <a:cubicBezTo>
                      <a:pt x="6" y="43"/>
                      <a:pt x="3" y="39"/>
                      <a:pt x="3" y="37"/>
                    </a:cubicBezTo>
                    <a:cubicBezTo>
                      <a:pt x="3" y="36"/>
                      <a:pt x="2" y="36"/>
                      <a:pt x="2" y="33"/>
                    </a:cubicBezTo>
                    <a:cubicBezTo>
                      <a:pt x="2" y="31"/>
                      <a:pt x="0" y="28"/>
                      <a:pt x="2" y="28"/>
                    </a:cubicBezTo>
                    <a:cubicBezTo>
                      <a:pt x="4" y="28"/>
                      <a:pt x="8" y="29"/>
                      <a:pt x="9" y="28"/>
                    </a:cubicBezTo>
                    <a:cubicBezTo>
                      <a:pt x="11" y="27"/>
                      <a:pt x="13" y="27"/>
                      <a:pt x="15" y="27"/>
                    </a:cubicBezTo>
                    <a:cubicBezTo>
                      <a:pt x="16" y="27"/>
                      <a:pt x="20" y="25"/>
                      <a:pt x="20" y="24"/>
                    </a:cubicBezTo>
                    <a:cubicBezTo>
                      <a:pt x="20" y="22"/>
                      <a:pt x="21" y="23"/>
                      <a:pt x="22" y="25"/>
                    </a:cubicBezTo>
                    <a:cubicBezTo>
                      <a:pt x="23" y="27"/>
                      <a:pt x="26" y="27"/>
                      <a:pt x="27" y="27"/>
                    </a:cubicBezTo>
                    <a:cubicBezTo>
                      <a:pt x="29" y="27"/>
                      <a:pt x="32" y="31"/>
                      <a:pt x="33" y="29"/>
                    </a:cubicBezTo>
                    <a:cubicBezTo>
                      <a:pt x="33" y="27"/>
                      <a:pt x="35" y="24"/>
                      <a:pt x="34" y="22"/>
                    </a:cubicBezTo>
                    <a:cubicBezTo>
                      <a:pt x="33" y="20"/>
                      <a:pt x="36" y="20"/>
                      <a:pt x="38" y="19"/>
                    </a:cubicBezTo>
                    <a:cubicBezTo>
                      <a:pt x="39" y="18"/>
                      <a:pt x="40" y="17"/>
                      <a:pt x="40" y="15"/>
                    </a:cubicBezTo>
                    <a:cubicBezTo>
                      <a:pt x="39" y="13"/>
                      <a:pt x="38" y="9"/>
                      <a:pt x="39" y="8"/>
                    </a:cubicBezTo>
                    <a:cubicBezTo>
                      <a:pt x="40" y="8"/>
                      <a:pt x="43" y="8"/>
                      <a:pt x="44" y="7"/>
                    </a:cubicBezTo>
                    <a:cubicBezTo>
                      <a:pt x="46" y="5"/>
                      <a:pt x="49" y="5"/>
                      <a:pt x="50" y="4"/>
                    </a:cubicBezTo>
                    <a:cubicBezTo>
                      <a:pt x="50" y="4"/>
                      <a:pt x="50" y="0"/>
                      <a:pt x="52" y="0"/>
                    </a:cubicBezTo>
                    <a:cubicBezTo>
                      <a:pt x="54" y="0"/>
                      <a:pt x="56" y="1"/>
                      <a:pt x="58" y="2"/>
                    </a:cubicBezTo>
                    <a:cubicBezTo>
                      <a:pt x="60" y="4"/>
                      <a:pt x="61" y="5"/>
                      <a:pt x="62" y="7"/>
                    </a:cubicBezTo>
                    <a:cubicBezTo>
                      <a:pt x="63" y="9"/>
                      <a:pt x="65" y="9"/>
                      <a:pt x="67" y="11"/>
                    </a:cubicBezTo>
                    <a:cubicBezTo>
                      <a:pt x="69" y="12"/>
                      <a:pt x="69" y="15"/>
                      <a:pt x="71" y="15"/>
                    </a:cubicBezTo>
                    <a:cubicBezTo>
                      <a:pt x="72" y="15"/>
                      <a:pt x="74" y="15"/>
                      <a:pt x="76" y="17"/>
                    </a:cubicBezTo>
                    <a:cubicBezTo>
                      <a:pt x="77" y="19"/>
                      <a:pt x="77" y="19"/>
                      <a:pt x="81" y="19"/>
                    </a:cubicBezTo>
                    <a:cubicBezTo>
                      <a:pt x="85" y="18"/>
                      <a:pt x="87" y="19"/>
                      <a:pt x="89" y="20"/>
                    </a:cubicBezTo>
                    <a:cubicBezTo>
                      <a:pt x="91" y="21"/>
                      <a:pt x="93" y="19"/>
                      <a:pt x="94" y="18"/>
                    </a:cubicBezTo>
                    <a:cubicBezTo>
                      <a:pt x="95" y="16"/>
                      <a:pt x="95" y="16"/>
                      <a:pt x="97" y="16"/>
                    </a:cubicBezTo>
                    <a:cubicBezTo>
                      <a:pt x="97" y="16"/>
                      <a:pt x="98" y="18"/>
                      <a:pt x="99" y="21"/>
                    </a:cubicBezTo>
                    <a:cubicBezTo>
                      <a:pt x="100" y="24"/>
                      <a:pt x="99" y="24"/>
                      <a:pt x="99" y="25"/>
                    </a:cubicBezTo>
                    <a:cubicBezTo>
                      <a:pt x="100" y="26"/>
                      <a:pt x="102" y="26"/>
                      <a:pt x="101" y="27"/>
                    </a:cubicBezTo>
                    <a:cubicBezTo>
                      <a:pt x="100" y="29"/>
                      <a:pt x="102" y="31"/>
                      <a:pt x="104" y="33"/>
                    </a:cubicBezTo>
                    <a:cubicBezTo>
                      <a:pt x="105" y="34"/>
                      <a:pt x="108" y="35"/>
                      <a:pt x="107" y="35"/>
                    </a:cubicBezTo>
                    <a:cubicBezTo>
                      <a:pt x="106" y="36"/>
                      <a:pt x="102" y="35"/>
                      <a:pt x="103" y="37"/>
                    </a:cubicBezTo>
                    <a:cubicBezTo>
                      <a:pt x="104" y="39"/>
                      <a:pt x="103" y="42"/>
                      <a:pt x="103" y="42"/>
                    </a:cubicBezTo>
                    <a:cubicBezTo>
                      <a:pt x="103" y="42"/>
                      <a:pt x="102" y="42"/>
                      <a:pt x="101" y="43"/>
                    </a:cubicBezTo>
                    <a:cubicBezTo>
                      <a:pt x="99" y="45"/>
                      <a:pt x="98" y="43"/>
                      <a:pt x="97" y="40"/>
                    </a:cubicBezTo>
                    <a:cubicBezTo>
                      <a:pt x="96" y="38"/>
                      <a:pt x="95" y="39"/>
                      <a:pt x="93" y="38"/>
                    </a:cubicBezTo>
                    <a:cubicBezTo>
                      <a:pt x="92" y="37"/>
                      <a:pt x="91" y="37"/>
                      <a:pt x="89" y="38"/>
                    </a:cubicBezTo>
                    <a:cubicBezTo>
                      <a:pt x="88" y="38"/>
                      <a:pt x="86" y="38"/>
                      <a:pt x="85" y="37"/>
                    </a:cubicBezTo>
                    <a:cubicBezTo>
                      <a:pt x="83" y="36"/>
                      <a:pt x="83" y="37"/>
                      <a:pt x="81" y="38"/>
                    </a:cubicBezTo>
                    <a:cubicBezTo>
                      <a:pt x="79" y="39"/>
                      <a:pt x="78" y="38"/>
                      <a:pt x="77" y="37"/>
                    </a:cubicBezTo>
                    <a:cubicBezTo>
                      <a:pt x="75" y="36"/>
                      <a:pt x="72" y="36"/>
                      <a:pt x="70" y="35"/>
                    </a:cubicBezTo>
                    <a:cubicBezTo>
                      <a:pt x="68" y="35"/>
                      <a:pt x="66" y="35"/>
                      <a:pt x="64" y="33"/>
                    </a:cubicBezTo>
                    <a:cubicBezTo>
                      <a:pt x="63" y="32"/>
                      <a:pt x="62" y="32"/>
                      <a:pt x="62" y="34"/>
                    </a:cubicBezTo>
                    <a:cubicBezTo>
                      <a:pt x="61" y="36"/>
                      <a:pt x="58" y="35"/>
                      <a:pt x="57" y="34"/>
                    </a:cubicBezTo>
                    <a:cubicBezTo>
                      <a:pt x="55" y="33"/>
                      <a:pt x="54" y="38"/>
                      <a:pt x="52" y="40"/>
                    </a:cubicBezTo>
                    <a:cubicBezTo>
                      <a:pt x="51" y="42"/>
                      <a:pt x="48" y="36"/>
                      <a:pt x="46" y="34"/>
                    </a:cubicBezTo>
                    <a:cubicBezTo>
                      <a:pt x="44" y="31"/>
                      <a:pt x="42" y="34"/>
                      <a:pt x="42" y="36"/>
                    </a:cubicBezTo>
                    <a:cubicBezTo>
                      <a:pt x="43" y="39"/>
                      <a:pt x="42" y="40"/>
                      <a:pt x="43" y="44"/>
                    </a:cubicBezTo>
                    <a:cubicBezTo>
                      <a:pt x="44" y="48"/>
                      <a:pt x="45" y="48"/>
                      <a:pt x="47" y="50"/>
                    </a:cubicBezTo>
                    <a:cubicBezTo>
                      <a:pt x="50" y="52"/>
                      <a:pt x="51" y="59"/>
                      <a:pt x="52" y="62"/>
                    </a:cubicBezTo>
                    <a:cubicBezTo>
                      <a:pt x="54" y="65"/>
                      <a:pt x="57" y="67"/>
                      <a:pt x="59" y="69"/>
                    </a:cubicBezTo>
                    <a:cubicBezTo>
                      <a:pt x="61" y="71"/>
                      <a:pt x="63" y="74"/>
                      <a:pt x="65" y="76"/>
                    </a:cubicBezTo>
                    <a:cubicBezTo>
                      <a:pt x="67" y="78"/>
                      <a:pt x="71" y="83"/>
                      <a:pt x="72" y="86"/>
                    </a:cubicBezTo>
                    <a:cubicBezTo>
                      <a:pt x="74" y="88"/>
                      <a:pt x="76" y="88"/>
                      <a:pt x="78" y="90"/>
                    </a:cubicBezTo>
                    <a:cubicBezTo>
                      <a:pt x="80" y="92"/>
                      <a:pt x="80" y="96"/>
                      <a:pt x="81" y="97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5" name="Freeform 69">
                <a:extLst>
                  <a:ext uri="{FF2B5EF4-FFF2-40B4-BE49-F238E27FC236}">
                    <a16:creationId xmlns:a16="http://schemas.microsoft.com/office/drawing/2014/main" id="{7D824D36-EE98-5165-1122-8C435CBA90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51470" y="5144305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06" name="Gruppieren 291">
                <a:extLst>
                  <a:ext uri="{FF2B5EF4-FFF2-40B4-BE49-F238E27FC236}">
                    <a16:creationId xmlns:a16="http://schemas.microsoft.com/office/drawing/2014/main" id="{21F7DDED-7603-3DEC-833D-60512B1371BD}"/>
                  </a:ext>
                </a:extLst>
              </p:cNvPr>
              <p:cNvGrpSpPr/>
              <p:nvPr/>
            </p:nvGrpSpPr>
            <p:grpSpPr bwMode="gray">
              <a:xfrm>
                <a:off x="4211545" y="5484735"/>
                <a:ext cx="683940" cy="756339"/>
                <a:chOff x="4200526" y="5576888"/>
                <a:chExt cx="704851" cy="779463"/>
              </a:xfrm>
              <a:grpFill/>
            </p:grpSpPr>
            <p:sp>
              <p:nvSpPr>
                <p:cNvPr id="621" name="Freeform 71">
                  <a:extLst>
                    <a:ext uri="{FF2B5EF4-FFF2-40B4-BE49-F238E27FC236}">
                      <a16:creationId xmlns:a16="http://schemas.microsoft.com/office/drawing/2014/main" id="{026B57D4-3C85-2336-659A-2282F1AC326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41801" y="5576888"/>
                  <a:ext cx="496888" cy="612775"/>
                </a:xfrm>
                <a:custGeom>
                  <a:avLst/>
                  <a:gdLst>
                    <a:gd name="T0" fmla="*/ 95 w 119"/>
                    <a:gd name="T1" fmla="*/ 22 h 147"/>
                    <a:gd name="T2" fmla="*/ 75 w 119"/>
                    <a:gd name="T3" fmla="*/ 26 h 147"/>
                    <a:gd name="T4" fmla="*/ 69 w 119"/>
                    <a:gd name="T5" fmla="*/ 33 h 147"/>
                    <a:gd name="T6" fmla="*/ 76 w 119"/>
                    <a:gd name="T7" fmla="*/ 40 h 147"/>
                    <a:gd name="T8" fmla="*/ 72 w 119"/>
                    <a:gd name="T9" fmla="*/ 40 h 147"/>
                    <a:gd name="T10" fmla="*/ 71 w 119"/>
                    <a:gd name="T11" fmla="*/ 45 h 147"/>
                    <a:gd name="T12" fmla="*/ 62 w 119"/>
                    <a:gd name="T13" fmla="*/ 39 h 147"/>
                    <a:gd name="T14" fmla="*/ 63 w 119"/>
                    <a:gd name="T15" fmla="*/ 49 h 147"/>
                    <a:gd name="T16" fmla="*/ 51 w 119"/>
                    <a:gd name="T17" fmla="*/ 34 h 147"/>
                    <a:gd name="T18" fmla="*/ 46 w 119"/>
                    <a:gd name="T19" fmla="*/ 48 h 147"/>
                    <a:gd name="T20" fmla="*/ 61 w 119"/>
                    <a:gd name="T21" fmla="*/ 70 h 147"/>
                    <a:gd name="T22" fmla="*/ 51 w 119"/>
                    <a:gd name="T23" fmla="*/ 70 h 147"/>
                    <a:gd name="T24" fmla="*/ 59 w 119"/>
                    <a:gd name="T25" fmla="*/ 74 h 147"/>
                    <a:gd name="T26" fmla="*/ 73 w 119"/>
                    <a:gd name="T27" fmla="*/ 85 h 147"/>
                    <a:gd name="T28" fmla="*/ 81 w 119"/>
                    <a:gd name="T29" fmla="*/ 99 h 147"/>
                    <a:gd name="T30" fmla="*/ 76 w 119"/>
                    <a:gd name="T31" fmla="*/ 95 h 147"/>
                    <a:gd name="T32" fmla="*/ 65 w 119"/>
                    <a:gd name="T33" fmla="*/ 86 h 147"/>
                    <a:gd name="T34" fmla="*/ 48 w 119"/>
                    <a:gd name="T35" fmla="*/ 79 h 147"/>
                    <a:gd name="T36" fmla="*/ 60 w 119"/>
                    <a:gd name="T37" fmla="*/ 83 h 147"/>
                    <a:gd name="T38" fmla="*/ 68 w 119"/>
                    <a:gd name="T39" fmla="*/ 94 h 147"/>
                    <a:gd name="T40" fmla="*/ 77 w 119"/>
                    <a:gd name="T41" fmla="*/ 110 h 147"/>
                    <a:gd name="T42" fmla="*/ 64 w 119"/>
                    <a:gd name="T43" fmla="*/ 106 h 147"/>
                    <a:gd name="T44" fmla="*/ 57 w 119"/>
                    <a:gd name="T45" fmla="*/ 107 h 147"/>
                    <a:gd name="T46" fmla="*/ 66 w 119"/>
                    <a:gd name="T47" fmla="*/ 116 h 147"/>
                    <a:gd name="T48" fmla="*/ 58 w 119"/>
                    <a:gd name="T49" fmla="*/ 121 h 147"/>
                    <a:gd name="T50" fmla="*/ 55 w 119"/>
                    <a:gd name="T51" fmla="*/ 125 h 147"/>
                    <a:gd name="T52" fmla="*/ 61 w 119"/>
                    <a:gd name="T53" fmla="*/ 144 h 147"/>
                    <a:gd name="T54" fmla="*/ 51 w 119"/>
                    <a:gd name="T55" fmla="*/ 135 h 147"/>
                    <a:gd name="T56" fmla="*/ 43 w 119"/>
                    <a:gd name="T57" fmla="*/ 135 h 147"/>
                    <a:gd name="T58" fmla="*/ 36 w 119"/>
                    <a:gd name="T59" fmla="*/ 136 h 147"/>
                    <a:gd name="T60" fmla="*/ 29 w 119"/>
                    <a:gd name="T61" fmla="*/ 125 h 147"/>
                    <a:gd name="T62" fmla="*/ 21 w 119"/>
                    <a:gd name="T63" fmla="*/ 105 h 147"/>
                    <a:gd name="T64" fmla="*/ 34 w 119"/>
                    <a:gd name="T65" fmla="*/ 93 h 147"/>
                    <a:gd name="T66" fmla="*/ 53 w 119"/>
                    <a:gd name="T67" fmla="*/ 103 h 147"/>
                    <a:gd name="T68" fmla="*/ 51 w 119"/>
                    <a:gd name="T69" fmla="*/ 97 h 147"/>
                    <a:gd name="T70" fmla="*/ 43 w 119"/>
                    <a:gd name="T71" fmla="*/ 94 h 147"/>
                    <a:gd name="T72" fmla="*/ 23 w 119"/>
                    <a:gd name="T73" fmla="*/ 90 h 147"/>
                    <a:gd name="T74" fmla="*/ 12 w 119"/>
                    <a:gd name="T75" fmla="*/ 83 h 147"/>
                    <a:gd name="T76" fmla="*/ 15 w 119"/>
                    <a:gd name="T77" fmla="*/ 76 h 147"/>
                    <a:gd name="T78" fmla="*/ 10 w 119"/>
                    <a:gd name="T79" fmla="*/ 74 h 147"/>
                    <a:gd name="T80" fmla="*/ 0 w 119"/>
                    <a:gd name="T81" fmla="*/ 58 h 147"/>
                    <a:gd name="T82" fmla="*/ 5 w 119"/>
                    <a:gd name="T83" fmla="*/ 46 h 147"/>
                    <a:gd name="T84" fmla="*/ 15 w 119"/>
                    <a:gd name="T85" fmla="*/ 26 h 147"/>
                    <a:gd name="T86" fmla="*/ 30 w 119"/>
                    <a:gd name="T87" fmla="*/ 20 h 147"/>
                    <a:gd name="T88" fmla="*/ 50 w 119"/>
                    <a:gd name="T89" fmla="*/ 10 h 147"/>
                    <a:gd name="T90" fmla="*/ 80 w 119"/>
                    <a:gd name="T91" fmla="*/ 7 h 147"/>
                    <a:gd name="T92" fmla="*/ 104 w 119"/>
                    <a:gd name="T93" fmla="*/ 12 h 147"/>
                    <a:gd name="T94" fmla="*/ 116 w 119"/>
                    <a:gd name="T95" fmla="*/ 3 h 147"/>
                    <a:gd name="T96" fmla="*/ 114 w 119"/>
                    <a:gd name="T97" fmla="*/ 23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9" h="147">
                      <a:moveTo>
                        <a:pt x="109" y="27"/>
                      </a:moveTo>
                      <a:cubicBezTo>
                        <a:pt x="109" y="27"/>
                        <a:pt x="110" y="25"/>
                        <a:pt x="107" y="25"/>
                      </a:cubicBezTo>
                      <a:cubicBezTo>
                        <a:pt x="105" y="25"/>
                        <a:pt x="103" y="25"/>
                        <a:pt x="100" y="24"/>
                      </a:cubicBezTo>
                      <a:cubicBezTo>
                        <a:pt x="98" y="23"/>
                        <a:pt x="97" y="24"/>
                        <a:pt x="95" y="22"/>
                      </a:cubicBezTo>
                      <a:cubicBezTo>
                        <a:pt x="94" y="20"/>
                        <a:pt x="92" y="19"/>
                        <a:pt x="89" y="21"/>
                      </a:cubicBezTo>
                      <a:cubicBezTo>
                        <a:pt x="87" y="23"/>
                        <a:pt x="87" y="25"/>
                        <a:pt x="85" y="25"/>
                      </a:cubicBezTo>
                      <a:cubicBezTo>
                        <a:pt x="82" y="24"/>
                        <a:pt x="81" y="23"/>
                        <a:pt x="80" y="23"/>
                      </a:cubicBezTo>
                      <a:cubicBezTo>
                        <a:pt x="79" y="22"/>
                        <a:pt x="76" y="23"/>
                        <a:pt x="75" y="26"/>
                      </a:cubicBezTo>
                      <a:cubicBezTo>
                        <a:pt x="74" y="28"/>
                        <a:pt x="74" y="29"/>
                        <a:pt x="72" y="28"/>
                      </a:cubicBezTo>
                      <a:cubicBezTo>
                        <a:pt x="70" y="28"/>
                        <a:pt x="68" y="25"/>
                        <a:pt x="67" y="26"/>
                      </a:cubicBezTo>
                      <a:cubicBezTo>
                        <a:pt x="66" y="27"/>
                        <a:pt x="65" y="29"/>
                        <a:pt x="66" y="30"/>
                      </a:cubicBezTo>
                      <a:cubicBezTo>
                        <a:pt x="66" y="32"/>
                        <a:pt x="69" y="31"/>
                        <a:pt x="69" y="33"/>
                      </a:cubicBezTo>
                      <a:cubicBezTo>
                        <a:pt x="69" y="34"/>
                        <a:pt x="68" y="36"/>
                        <a:pt x="69" y="36"/>
                      </a:cubicBezTo>
                      <a:cubicBezTo>
                        <a:pt x="70" y="37"/>
                        <a:pt x="69" y="36"/>
                        <a:pt x="71" y="36"/>
                      </a:cubicBezTo>
                      <a:cubicBezTo>
                        <a:pt x="72" y="35"/>
                        <a:pt x="74" y="35"/>
                        <a:pt x="74" y="37"/>
                      </a:cubicBezTo>
                      <a:cubicBezTo>
                        <a:pt x="74" y="38"/>
                        <a:pt x="74" y="39"/>
                        <a:pt x="76" y="40"/>
                      </a:cubicBezTo>
                      <a:cubicBezTo>
                        <a:pt x="78" y="41"/>
                        <a:pt x="80" y="43"/>
                        <a:pt x="79" y="44"/>
                      </a:cubicBezTo>
                      <a:cubicBezTo>
                        <a:pt x="79" y="45"/>
                        <a:pt x="77" y="45"/>
                        <a:pt x="76" y="43"/>
                      </a:cubicBezTo>
                      <a:cubicBezTo>
                        <a:pt x="75" y="42"/>
                        <a:pt x="74" y="41"/>
                        <a:pt x="73" y="40"/>
                      </a:cubicBezTo>
                      <a:cubicBezTo>
                        <a:pt x="73" y="40"/>
                        <a:pt x="73" y="41"/>
                        <a:pt x="72" y="40"/>
                      </a:cubicBezTo>
                      <a:cubicBezTo>
                        <a:pt x="71" y="39"/>
                        <a:pt x="71" y="38"/>
                        <a:pt x="70" y="38"/>
                      </a:cubicBezTo>
                      <a:cubicBezTo>
                        <a:pt x="70" y="37"/>
                        <a:pt x="69" y="38"/>
                        <a:pt x="67" y="38"/>
                      </a:cubicBezTo>
                      <a:cubicBezTo>
                        <a:pt x="66" y="39"/>
                        <a:pt x="66" y="40"/>
                        <a:pt x="67" y="41"/>
                      </a:cubicBezTo>
                      <a:cubicBezTo>
                        <a:pt x="68" y="43"/>
                        <a:pt x="71" y="43"/>
                        <a:pt x="71" y="45"/>
                      </a:cubicBezTo>
                      <a:cubicBezTo>
                        <a:pt x="72" y="47"/>
                        <a:pt x="72" y="48"/>
                        <a:pt x="71" y="48"/>
                      </a:cubicBezTo>
                      <a:cubicBezTo>
                        <a:pt x="70" y="48"/>
                        <a:pt x="68" y="45"/>
                        <a:pt x="67" y="44"/>
                      </a:cubicBezTo>
                      <a:cubicBezTo>
                        <a:pt x="66" y="43"/>
                        <a:pt x="65" y="42"/>
                        <a:pt x="63" y="41"/>
                      </a:cubicBezTo>
                      <a:cubicBezTo>
                        <a:pt x="62" y="39"/>
                        <a:pt x="62" y="40"/>
                        <a:pt x="62" y="39"/>
                      </a:cubicBezTo>
                      <a:cubicBezTo>
                        <a:pt x="61" y="39"/>
                        <a:pt x="60" y="40"/>
                        <a:pt x="60" y="41"/>
                      </a:cubicBezTo>
                      <a:cubicBezTo>
                        <a:pt x="59" y="42"/>
                        <a:pt x="60" y="43"/>
                        <a:pt x="61" y="44"/>
                      </a:cubicBezTo>
                      <a:cubicBezTo>
                        <a:pt x="62" y="45"/>
                        <a:pt x="65" y="48"/>
                        <a:pt x="65" y="49"/>
                      </a:cubicBezTo>
                      <a:cubicBezTo>
                        <a:pt x="66" y="50"/>
                        <a:pt x="65" y="50"/>
                        <a:pt x="63" y="49"/>
                      </a:cubicBezTo>
                      <a:cubicBezTo>
                        <a:pt x="61" y="48"/>
                        <a:pt x="59" y="50"/>
                        <a:pt x="59" y="48"/>
                      </a:cubicBezTo>
                      <a:cubicBezTo>
                        <a:pt x="59" y="45"/>
                        <a:pt x="60" y="43"/>
                        <a:pt x="58" y="41"/>
                      </a:cubicBezTo>
                      <a:cubicBezTo>
                        <a:pt x="56" y="40"/>
                        <a:pt x="52" y="39"/>
                        <a:pt x="52" y="38"/>
                      </a:cubicBezTo>
                      <a:cubicBezTo>
                        <a:pt x="51" y="36"/>
                        <a:pt x="50" y="36"/>
                        <a:pt x="51" y="34"/>
                      </a:cubicBezTo>
                      <a:cubicBezTo>
                        <a:pt x="52" y="33"/>
                        <a:pt x="52" y="30"/>
                        <a:pt x="51" y="31"/>
                      </a:cubicBezTo>
                      <a:cubicBezTo>
                        <a:pt x="50" y="31"/>
                        <a:pt x="47" y="33"/>
                        <a:pt x="47" y="34"/>
                      </a:cubicBezTo>
                      <a:cubicBezTo>
                        <a:pt x="46" y="35"/>
                        <a:pt x="45" y="39"/>
                        <a:pt x="45" y="41"/>
                      </a:cubicBezTo>
                      <a:cubicBezTo>
                        <a:pt x="45" y="44"/>
                        <a:pt x="44" y="45"/>
                        <a:pt x="46" y="48"/>
                      </a:cubicBezTo>
                      <a:cubicBezTo>
                        <a:pt x="47" y="50"/>
                        <a:pt x="49" y="52"/>
                        <a:pt x="50" y="54"/>
                      </a:cubicBezTo>
                      <a:cubicBezTo>
                        <a:pt x="51" y="56"/>
                        <a:pt x="51" y="57"/>
                        <a:pt x="53" y="59"/>
                      </a:cubicBezTo>
                      <a:cubicBezTo>
                        <a:pt x="55" y="61"/>
                        <a:pt x="57" y="63"/>
                        <a:pt x="58" y="65"/>
                      </a:cubicBezTo>
                      <a:cubicBezTo>
                        <a:pt x="60" y="66"/>
                        <a:pt x="62" y="69"/>
                        <a:pt x="61" y="70"/>
                      </a:cubicBezTo>
                      <a:cubicBezTo>
                        <a:pt x="60" y="71"/>
                        <a:pt x="56" y="75"/>
                        <a:pt x="57" y="73"/>
                      </a:cubicBezTo>
                      <a:cubicBezTo>
                        <a:pt x="57" y="71"/>
                        <a:pt x="58" y="71"/>
                        <a:pt x="57" y="68"/>
                      </a:cubicBezTo>
                      <a:cubicBezTo>
                        <a:pt x="56" y="66"/>
                        <a:pt x="55" y="66"/>
                        <a:pt x="54" y="66"/>
                      </a:cubicBezTo>
                      <a:cubicBezTo>
                        <a:pt x="52" y="65"/>
                        <a:pt x="51" y="68"/>
                        <a:pt x="51" y="70"/>
                      </a:cubicBezTo>
                      <a:cubicBezTo>
                        <a:pt x="52" y="71"/>
                        <a:pt x="53" y="73"/>
                        <a:pt x="55" y="73"/>
                      </a:cubicBezTo>
                      <a:cubicBezTo>
                        <a:pt x="56" y="74"/>
                        <a:pt x="56" y="75"/>
                        <a:pt x="55" y="76"/>
                      </a:cubicBezTo>
                      <a:cubicBezTo>
                        <a:pt x="54" y="76"/>
                        <a:pt x="54" y="78"/>
                        <a:pt x="55" y="78"/>
                      </a:cubicBezTo>
                      <a:cubicBezTo>
                        <a:pt x="55" y="78"/>
                        <a:pt x="57" y="75"/>
                        <a:pt x="59" y="74"/>
                      </a:cubicBezTo>
                      <a:cubicBezTo>
                        <a:pt x="60" y="74"/>
                        <a:pt x="61" y="74"/>
                        <a:pt x="62" y="75"/>
                      </a:cubicBezTo>
                      <a:cubicBezTo>
                        <a:pt x="63" y="77"/>
                        <a:pt x="64" y="78"/>
                        <a:pt x="64" y="79"/>
                      </a:cubicBezTo>
                      <a:cubicBezTo>
                        <a:pt x="65" y="80"/>
                        <a:pt x="67" y="81"/>
                        <a:pt x="68" y="82"/>
                      </a:cubicBezTo>
                      <a:cubicBezTo>
                        <a:pt x="70" y="83"/>
                        <a:pt x="71" y="85"/>
                        <a:pt x="73" y="85"/>
                      </a:cubicBezTo>
                      <a:cubicBezTo>
                        <a:pt x="74" y="84"/>
                        <a:pt x="76" y="86"/>
                        <a:pt x="76" y="87"/>
                      </a:cubicBezTo>
                      <a:cubicBezTo>
                        <a:pt x="77" y="88"/>
                        <a:pt x="77" y="89"/>
                        <a:pt x="77" y="90"/>
                      </a:cubicBezTo>
                      <a:cubicBezTo>
                        <a:pt x="77" y="92"/>
                        <a:pt x="77" y="93"/>
                        <a:pt x="79" y="95"/>
                      </a:cubicBezTo>
                      <a:cubicBezTo>
                        <a:pt x="81" y="97"/>
                        <a:pt x="79" y="98"/>
                        <a:pt x="81" y="99"/>
                      </a:cubicBezTo>
                      <a:cubicBezTo>
                        <a:pt x="83" y="99"/>
                        <a:pt x="85" y="99"/>
                        <a:pt x="86" y="100"/>
                      </a:cubicBezTo>
                      <a:cubicBezTo>
                        <a:pt x="86" y="102"/>
                        <a:pt x="86" y="106"/>
                        <a:pt x="84" y="105"/>
                      </a:cubicBezTo>
                      <a:cubicBezTo>
                        <a:pt x="83" y="104"/>
                        <a:pt x="81" y="102"/>
                        <a:pt x="80" y="100"/>
                      </a:cubicBezTo>
                      <a:cubicBezTo>
                        <a:pt x="78" y="99"/>
                        <a:pt x="77" y="97"/>
                        <a:pt x="76" y="95"/>
                      </a:cubicBezTo>
                      <a:cubicBezTo>
                        <a:pt x="75" y="93"/>
                        <a:pt x="75" y="92"/>
                        <a:pt x="74" y="92"/>
                      </a:cubicBezTo>
                      <a:cubicBezTo>
                        <a:pt x="72" y="92"/>
                        <a:pt x="71" y="92"/>
                        <a:pt x="69" y="91"/>
                      </a:cubicBezTo>
                      <a:cubicBezTo>
                        <a:pt x="68" y="91"/>
                        <a:pt x="66" y="91"/>
                        <a:pt x="66" y="89"/>
                      </a:cubicBezTo>
                      <a:cubicBezTo>
                        <a:pt x="66" y="87"/>
                        <a:pt x="66" y="87"/>
                        <a:pt x="65" y="86"/>
                      </a:cubicBezTo>
                      <a:cubicBezTo>
                        <a:pt x="63" y="85"/>
                        <a:pt x="61" y="83"/>
                        <a:pt x="60" y="82"/>
                      </a:cubicBezTo>
                      <a:cubicBezTo>
                        <a:pt x="59" y="80"/>
                        <a:pt x="59" y="81"/>
                        <a:pt x="58" y="80"/>
                      </a:cubicBezTo>
                      <a:cubicBezTo>
                        <a:pt x="57" y="79"/>
                        <a:pt x="53" y="79"/>
                        <a:pt x="52" y="78"/>
                      </a:cubicBezTo>
                      <a:cubicBezTo>
                        <a:pt x="51" y="78"/>
                        <a:pt x="49" y="79"/>
                        <a:pt x="48" y="79"/>
                      </a:cubicBezTo>
                      <a:cubicBezTo>
                        <a:pt x="47" y="78"/>
                        <a:pt x="50" y="81"/>
                        <a:pt x="51" y="82"/>
                      </a:cubicBezTo>
                      <a:cubicBezTo>
                        <a:pt x="53" y="82"/>
                        <a:pt x="55" y="81"/>
                        <a:pt x="55" y="82"/>
                      </a:cubicBezTo>
                      <a:cubicBezTo>
                        <a:pt x="56" y="82"/>
                        <a:pt x="55" y="83"/>
                        <a:pt x="57" y="84"/>
                      </a:cubicBezTo>
                      <a:cubicBezTo>
                        <a:pt x="58" y="85"/>
                        <a:pt x="59" y="83"/>
                        <a:pt x="60" y="83"/>
                      </a:cubicBezTo>
                      <a:cubicBezTo>
                        <a:pt x="60" y="84"/>
                        <a:pt x="60" y="84"/>
                        <a:pt x="60" y="86"/>
                      </a:cubicBezTo>
                      <a:cubicBezTo>
                        <a:pt x="60" y="88"/>
                        <a:pt x="62" y="88"/>
                        <a:pt x="63" y="89"/>
                      </a:cubicBezTo>
                      <a:cubicBezTo>
                        <a:pt x="64" y="89"/>
                        <a:pt x="65" y="89"/>
                        <a:pt x="65" y="90"/>
                      </a:cubicBezTo>
                      <a:cubicBezTo>
                        <a:pt x="66" y="91"/>
                        <a:pt x="67" y="93"/>
                        <a:pt x="68" y="94"/>
                      </a:cubicBezTo>
                      <a:cubicBezTo>
                        <a:pt x="70" y="94"/>
                        <a:pt x="72" y="94"/>
                        <a:pt x="74" y="95"/>
                      </a:cubicBezTo>
                      <a:cubicBezTo>
                        <a:pt x="75" y="96"/>
                        <a:pt x="76" y="98"/>
                        <a:pt x="75" y="99"/>
                      </a:cubicBezTo>
                      <a:cubicBezTo>
                        <a:pt x="75" y="101"/>
                        <a:pt x="74" y="103"/>
                        <a:pt x="75" y="104"/>
                      </a:cubicBezTo>
                      <a:cubicBezTo>
                        <a:pt x="75" y="106"/>
                        <a:pt x="77" y="108"/>
                        <a:pt x="77" y="110"/>
                      </a:cubicBezTo>
                      <a:cubicBezTo>
                        <a:pt x="77" y="112"/>
                        <a:pt x="76" y="113"/>
                        <a:pt x="75" y="113"/>
                      </a:cubicBezTo>
                      <a:cubicBezTo>
                        <a:pt x="75" y="112"/>
                        <a:pt x="71" y="108"/>
                        <a:pt x="70" y="107"/>
                      </a:cubicBezTo>
                      <a:cubicBezTo>
                        <a:pt x="70" y="106"/>
                        <a:pt x="68" y="105"/>
                        <a:pt x="67" y="105"/>
                      </a:cubicBezTo>
                      <a:cubicBezTo>
                        <a:pt x="66" y="105"/>
                        <a:pt x="66" y="106"/>
                        <a:pt x="64" y="106"/>
                      </a:cubicBezTo>
                      <a:cubicBezTo>
                        <a:pt x="63" y="106"/>
                        <a:pt x="63" y="105"/>
                        <a:pt x="63" y="104"/>
                      </a:cubicBezTo>
                      <a:cubicBezTo>
                        <a:pt x="63" y="103"/>
                        <a:pt x="61" y="103"/>
                        <a:pt x="60" y="103"/>
                      </a:cubicBezTo>
                      <a:cubicBezTo>
                        <a:pt x="60" y="103"/>
                        <a:pt x="59" y="105"/>
                        <a:pt x="58" y="105"/>
                      </a:cubicBezTo>
                      <a:cubicBezTo>
                        <a:pt x="57" y="105"/>
                        <a:pt x="56" y="106"/>
                        <a:pt x="57" y="107"/>
                      </a:cubicBezTo>
                      <a:cubicBezTo>
                        <a:pt x="58" y="107"/>
                        <a:pt x="58" y="107"/>
                        <a:pt x="58" y="109"/>
                      </a:cubicBezTo>
                      <a:cubicBezTo>
                        <a:pt x="59" y="110"/>
                        <a:pt x="58" y="112"/>
                        <a:pt x="59" y="113"/>
                      </a:cubicBezTo>
                      <a:cubicBezTo>
                        <a:pt x="61" y="114"/>
                        <a:pt x="62" y="113"/>
                        <a:pt x="63" y="114"/>
                      </a:cubicBezTo>
                      <a:cubicBezTo>
                        <a:pt x="64" y="114"/>
                        <a:pt x="65" y="115"/>
                        <a:pt x="66" y="116"/>
                      </a:cubicBezTo>
                      <a:cubicBezTo>
                        <a:pt x="67" y="117"/>
                        <a:pt x="65" y="118"/>
                        <a:pt x="64" y="119"/>
                      </a:cubicBezTo>
                      <a:cubicBezTo>
                        <a:pt x="63" y="119"/>
                        <a:pt x="62" y="118"/>
                        <a:pt x="62" y="119"/>
                      </a:cubicBezTo>
                      <a:cubicBezTo>
                        <a:pt x="61" y="120"/>
                        <a:pt x="61" y="120"/>
                        <a:pt x="60" y="121"/>
                      </a:cubicBezTo>
                      <a:cubicBezTo>
                        <a:pt x="59" y="122"/>
                        <a:pt x="58" y="123"/>
                        <a:pt x="58" y="121"/>
                      </a:cubicBezTo>
                      <a:cubicBezTo>
                        <a:pt x="58" y="119"/>
                        <a:pt x="59" y="117"/>
                        <a:pt x="57" y="117"/>
                      </a:cubicBezTo>
                      <a:cubicBezTo>
                        <a:pt x="55" y="116"/>
                        <a:pt x="54" y="115"/>
                        <a:pt x="53" y="115"/>
                      </a:cubicBezTo>
                      <a:cubicBezTo>
                        <a:pt x="51" y="115"/>
                        <a:pt x="51" y="117"/>
                        <a:pt x="52" y="119"/>
                      </a:cubicBezTo>
                      <a:cubicBezTo>
                        <a:pt x="53" y="122"/>
                        <a:pt x="54" y="123"/>
                        <a:pt x="55" y="125"/>
                      </a:cubicBezTo>
                      <a:cubicBezTo>
                        <a:pt x="56" y="127"/>
                        <a:pt x="57" y="130"/>
                        <a:pt x="57" y="132"/>
                      </a:cubicBezTo>
                      <a:cubicBezTo>
                        <a:pt x="58" y="133"/>
                        <a:pt x="59" y="135"/>
                        <a:pt x="58" y="136"/>
                      </a:cubicBezTo>
                      <a:cubicBezTo>
                        <a:pt x="58" y="137"/>
                        <a:pt x="57" y="138"/>
                        <a:pt x="58" y="139"/>
                      </a:cubicBezTo>
                      <a:cubicBezTo>
                        <a:pt x="58" y="141"/>
                        <a:pt x="61" y="142"/>
                        <a:pt x="61" y="144"/>
                      </a:cubicBezTo>
                      <a:cubicBezTo>
                        <a:pt x="61" y="145"/>
                        <a:pt x="60" y="147"/>
                        <a:pt x="60" y="146"/>
                      </a:cubicBezTo>
                      <a:cubicBezTo>
                        <a:pt x="59" y="144"/>
                        <a:pt x="58" y="143"/>
                        <a:pt x="56" y="142"/>
                      </a:cubicBezTo>
                      <a:cubicBezTo>
                        <a:pt x="55" y="142"/>
                        <a:pt x="54" y="140"/>
                        <a:pt x="54" y="139"/>
                      </a:cubicBezTo>
                      <a:cubicBezTo>
                        <a:pt x="54" y="138"/>
                        <a:pt x="52" y="135"/>
                        <a:pt x="51" y="135"/>
                      </a:cubicBezTo>
                      <a:cubicBezTo>
                        <a:pt x="51" y="135"/>
                        <a:pt x="49" y="134"/>
                        <a:pt x="49" y="137"/>
                      </a:cubicBezTo>
                      <a:cubicBezTo>
                        <a:pt x="48" y="139"/>
                        <a:pt x="47" y="142"/>
                        <a:pt x="47" y="143"/>
                      </a:cubicBezTo>
                      <a:cubicBezTo>
                        <a:pt x="47" y="144"/>
                        <a:pt x="45" y="143"/>
                        <a:pt x="45" y="142"/>
                      </a:cubicBezTo>
                      <a:cubicBezTo>
                        <a:pt x="45" y="141"/>
                        <a:pt x="44" y="136"/>
                        <a:pt x="43" y="135"/>
                      </a:cubicBezTo>
                      <a:cubicBezTo>
                        <a:pt x="42" y="134"/>
                        <a:pt x="41" y="133"/>
                        <a:pt x="40" y="131"/>
                      </a:cubicBezTo>
                      <a:cubicBezTo>
                        <a:pt x="40" y="129"/>
                        <a:pt x="40" y="130"/>
                        <a:pt x="39" y="130"/>
                      </a:cubicBezTo>
                      <a:cubicBezTo>
                        <a:pt x="38" y="129"/>
                        <a:pt x="37" y="130"/>
                        <a:pt x="37" y="132"/>
                      </a:cubicBezTo>
                      <a:cubicBezTo>
                        <a:pt x="37" y="134"/>
                        <a:pt x="37" y="136"/>
                        <a:pt x="36" y="136"/>
                      </a:cubicBezTo>
                      <a:cubicBezTo>
                        <a:pt x="36" y="136"/>
                        <a:pt x="33" y="137"/>
                        <a:pt x="33" y="135"/>
                      </a:cubicBezTo>
                      <a:cubicBezTo>
                        <a:pt x="32" y="133"/>
                        <a:pt x="31" y="131"/>
                        <a:pt x="31" y="130"/>
                      </a:cubicBezTo>
                      <a:cubicBezTo>
                        <a:pt x="30" y="129"/>
                        <a:pt x="30" y="129"/>
                        <a:pt x="30" y="129"/>
                      </a:cubicBezTo>
                      <a:cubicBezTo>
                        <a:pt x="30" y="129"/>
                        <a:pt x="29" y="126"/>
                        <a:pt x="29" y="125"/>
                      </a:cubicBezTo>
                      <a:cubicBezTo>
                        <a:pt x="30" y="124"/>
                        <a:pt x="32" y="123"/>
                        <a:pt x="31" y="121"/>
                      </a:cubicBezTo>
                      <a:cubicBezTo>
                        <a:pt x="31" y="119"/>
                        <a:pt x="30" y="116"/>
                        <a:pt x="29" y="115"/>
                      </a:cubicBezTo>
                      <a:cubicBezTo>
                        <a:pt x="28" y="115"/>
                        <a:pt x="26" y="112"/>
                        <a:pt x="24" y="110"/>
                      </a:cubicBezTo>
                      <a:cubicBezTo>
                        <a:pt x="22" y="108"/>
                        <a:pt x="20" y="106"/>
                        <a:pt x="21" y="105"/>
                      </a:cubicBezTo>
                      <a:cubicBezTo>
                        <a:pt x="21" y="104"/>
                        <a:pt x="24" y="101"/>
                        <a:pt x="24" y="100"/>
                      </a:cubicBezTo>
                      <a:cubicBezTo>
                        <a:pt x="25" y="98"/>
                        <a:pt x="27" y="97"/>
                        <a:pt x="27" y="97"/>
                      </a:cubicBezTo>
                      <a:cubicBezTo>
                        <a:pt x="28" y="98"/>
                        <a:pt x="30" y="98"/>
                        <a:pt x="30" y="97"/>
                      </a:cubicBezTo>
                      <a:cubicBezTo>
                        <a:pt x="31" y="96"/>
                        <a:pt x="33" y="93"/>
                        <a:pt x="34" y="93"/>
                      </a:cubicBezTo>
                      <a:cubicBezTo>
                        <a:pt x="35" y="93"/>
                        <a:pt x="36" y="95"/>
                        <a:pt x="38" y="95"/>
                      </a:cubicBezTo>
                      <a:cubicBezTo>
                        <a:pt x="39" y="96"/>
                        <a:pt x="43" y="98"/>
                        <a:pt x="45" y="99"/>
                      </a:cubicBezTo>
                      <a:cubicBezTo>
                        <a:pt x="47" y="99"/>
                        <a:pt x="50" y="100"/>
                        <a:pt x="50" y="102"/>
                      </a:cubicBezTo>
                      <a:cubicBezTo>
                        <a:pt x="51" y="103"/>
                        <a:pt x="52" y="105"/>
                        <a:pt x="53" y="103"/>
                      </a:cubicBezTo>
                      <a:cubicBezTo>
                        <a:pt x="54" y="102"/>
                        <a:pt x="55" y="101"/>
                        <a:pt x="57" y="101"/>
                      </a:cubicBezTo>
                      <a:cubicBezTo>
                        <a:pt x="58" y="101"/>
                        <a:pt x="59" y="99"/>
                        <a:pt x="59" y="98"/>
                      </a:cubicBezTo>
                      <a:cubicBezTo>
                        <a:pt x="59" y="97"/>
                        <a:pt x="57" y="97"/>
                        <a:pt x="56" y="97"/>
                      </a:cubicBezTo>
                      <a:cubicBezTo>
                        <a:pt x="55" y="97"/>
                        <a:pt x="51" y="98"/>
                        <a:pt x="51" y="97"/>
                      </a:cubicBezTo>
                      <a:cubicBezTo>
                        <a:pt x="51" y="96"/>
                        <a:pt x="50" y="94"/>
                        <a:pt x="49" y="93"/>
                      </a:cubicBezTo>
                      <a:cubicBezTo>
                        <a:pt x="48" y="93"/>
                        <a:pt x="47" y="96"/>
                        <a:pt x="47" y="94"/>
                      </a:cubicBezTo>
                      <a:cubicBezTo>
                        <a:pt x="46" y="92"/>
                        <a:pt x="45" y="91"/>
                        <a:pt x="44" y="91"/>
                      </a:cubicBezTo>
                      <a:cubicBezTo>
                        <a:pt x="43" y="90"/>
                        <a:pt x="44" y="94"/>
                        <a:pt x="43" y="94"/>
                      </a:cubicBezTo>
                      <a:cubicBezTo>
                        <a:pt x="41" y="94"/>
                        <a:pt x="39" y="93"/>
                        <a:pt x="38" y="92"/>
                      </a:cubicBezTo>
                      <a:cubicBezTo>
                        <a:pt x="37" y="91"/>
                        <a:pt x="32" y="93"/>
                        <a:pt x="30" y="93"/>
                      </a:cubicBezTo>
                      <a:cubicBezTo>
                        <a:pt x="28" y="93"/>
                        <a:pt x="26" y="95"/>
                        <a:pt x="25" y="93"/>
                      </a:cubicBezTo>
                      <a:cubicBezTo>
                        <a:pt x="25" y="91"/>
                        <a:pt x="24" y="90"/>
                        <a:pt x="23" y="90"/>
                      </a:cubicBezTo>
                      <a:cubicBezTo>
                        <a:pt x="23" y="91"/>
                        <a:pt x="21" y="95"/>
                        <a:pt x="20" y="93"/>
                      </a:cubicBezTo>
                      <a:cubicBezTo>
                        <a:pt x="20" y="92"/>
                        <a:pt x="18" y="88"/>
                        <a:pt x="17" y="86"/>
                      </a:cubicBezTo>
                      <a:cubicBezTo>
                        <a:pt x="17" y="84"/>
                        <a:pt x="16" y="83"/>
                        <a:pt x="14" y="82"/>
                      </a:cubicBezTo>
                      <a:cubicBezTo>
                        <a:pt x="13" y="81"/>
                        <a:pt x="12" y="81"/>
                        <a:pt x="12" y="83"/>
                      </a:cubicBezTo>
                      <a:cubicBezTo>
                        <a:pt x="12" y="85"/>
                        <a:pt x="10" y="87"/>
                        <a:pt x="10" y="86"/>
                      </a:cubicBezTo>
                      <a:cubicBezTo>
                        <a:pt x="9" y="84"/>
                        <a:pt x="8" y="83"/>
                        <a:pt x="9" y="81"/>
                      </a:cubicBezTo>
                      <a:cubicBezTo>
                        <a:pt x="10" y="80"/>
                        <a:pt x="11" y="79"/>
                        <a:pt x="12" y="77"/>
                      </a:cubicBezTo>
                      <a:cubicBezTo>
                        <a:pt x="12" y="76"/>
                        <a:pt x="14" y="75"/>
                        <a:pt x="15" y="76"/>
                      </a:cubicBezTo>
                      <a:cubicBezTo>
                        <a:pt x="17" y="76"/>
                        <a:pt x="18" y="78"/>
                        <a:pt x="19" y="77"/>
                      </a:cubicBezTo>
                      <a:cubicBezTo>
                        <a:pt x="20" y="75"/>
                        <a:pt x="19" y="74"/>
                        <a:pt x="18" y="74"/>
                      </a:cubicBezTo>
                      <a:cubicBezTo>
                        <a:pt x="17" y="74"/>
                        <a:pt x="14" y="74"/>
                        <a:pt x="13" y="73"/>
                      </a:cubicBezTo>
                      <a:cubicBezTo>
                        <a:pt x="13" y="72"/>
                        <a:pt x="11" y="75"/>
                        <a:pt x="10" y="74"/>
                      </a:cubicBezTo>
                      <a:cubicBezTo>
                        <a:pt x="10" y="73"/>
                        <a:pt x="8" y="71"/>
                        <a:pt x="7" y="69"/>
                      </a:cubicBezTo>
                      <a:cubicBezTo>
                        <a:pt x="6" y="68"/>
                        <a:pt x="5" y="69"/>
                        <a:pt x="4" y="67"/>
                      </a:cubicBezTo>
                      <a:cubicBezTo>
                        <a:pt x="3" y="65"/>
                        <a:pt x="2" y="63"/>
                        <a:pt x="1" y="62"/>
                      </a:cubicBezTo>
                      <a:cubicBezTo>
                        <a:pt x="1" y="61"/>
                        <a:pt x="0" y="61"/>
                        <a:pt x="0" y="58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58"/>
                        <a:pt x="1" y="57"/>
                        <a:pt x="2" y="57"/>
                      </a:cubicBezTo>
                      <a:cubicBezTo>
                        <a:pt x="3" y="56"/>
                        <a:pt x="4" y="54"/>
                        <a:pt x="3" y="51"/>
                      </a:cubicBezTo>
                      <a:cubicBezTo>
                        <a:pt x="3" y="48"/>
                        <a:pt x="3" y="47"/>
                        <a:pt x="5" y="46"/>
                      </a:cubicBezTo>
                      <a:cubicBezTo>
                        <a:pt x="7" y="45"/>
                        <a:pt x="8" y="47"/>
                        <a:pt x="9" y="45"/>
                      </a:cubicBezTo>
                      <a:cubicBezTo>
                        <a:pt x="10" y="44"/>
                        <a:pt x="9" y="41"/>
                        <a:pt x="11" y="38"/>
                      </a:cubicBezTo>
                      <a:cubicBezTo>
                        <a:pt x="12" y="36"/>
                        <a:pt x="14" y="35"/>
                        <a:pt x="15" y="33"/>
                      </a:cubicBezTo>
                      <a:cubicBezTo>
                        <a:pt x="16" y="30"/>
                        <a:pt x="15" y="28"/>
                        <a:pt x="15" y="26"/>
                      </a:cubicBezTo>
                      <a:cubicBezTo>
                        <a:pt x="15" y="24"/>
                        <a:pt x="14" y="24"/>
                        <a:pt x="14" y="24"/>
                      </a:cubicBezTo>
                      <a:cubicBezTo>
                        <a:pt x="14" y="24"/>
                        <a:pt x="16" y="24"/>
                        <a:pt x="17" y="24"/>
                      </a:cubicBezTo>
                      <a:cubicBezTo>
                        <a:pt x="18" y="24"/>
                        <a:pt x="23" y="23"/>
                        <a:pt x="25" y="23"/>
                      </a:cubicBezTo>
                      <a:cubicBezTo>
                        <a:pt x="27" y="23"/>
                        <a:pt x="29" y="22"/>
                        <a:pt x="30" y="20"/>
                      </a:cubicBezTo>
                      <a:cubicBezTo>
                        <a:pt x="32" y="18"/>
                        <a:pt x="34" y="17"/>
                        <a:pt x="36" y="17"/>
                      </a:cubicBezTo>
                      <a:cubicBezTo>
                        <a:pt x="37" y="17"/>
                        <a:pt x="39" y="17"/>
                        <a:pt x="41" y="16"/>
                      </a:cubicBezTo>
                      <a:cubicBezTo>
                        <a:pt x="43" y="16"/>
                        <a:pt x="47" y="16"/>
                        <a:pt x="47" y="14"/>
                      </a:cubicBezTo>
                      <a:cubicBezTo>
                        <a:pt x="48" y="12"/>
                        <a:pt x="50" y="10"/>
                        <a:pt x="50" y="10"/>
                      </a:cubicBezTo>
                      <a:cubicBezTo>
                        <a:pt x="50" y="10"/>
                        <a:pt x="53" y="13"/>
                        <a:pt x="56" y="12"/>
                      </a:cubicBezTo>
                      <a:cubicBezTo>
                        <a:pt x="58" y="11"/>
                        <a:pt x="61" y="9"/>
                        <a:pt x="65" y="9"/>
                      </a:cubicBezTo>
                      <a:cubicBezTo>
                        <a:pt x="68" y="9"/>
                        <a:pt x="70" y="9"/>
                        <a:pt x="73" y="7"/>
                      </a:cubicBezTo>
                      <a:cubicBezTo>
                        <a:pt x="75" y="6"/>
                        <a:pt x="77" y="5"/>
                        <a:pt x="80" y="7"/>
                      </a:cubicBezTo>
                      <a:cubicBezTo>
                        <a:pt x="82" y="8"/>
                        <a:pt x="82" y="11"/>
                        <a:pt x="85" y="10"/>
                      </a:cubicBezTo>
                      <a:cubicBezTo>
                        <a:pt x="87" y="9"/>
                        <a:pt x="88" y="10"/>
                        <a:pt x="90" y="11"/>
                      </a:cubicBezTo>
                      <a:cubicBezTo>
                        <a:pt x="93" y="12"/>
                        <a:pt x="94" y="15"/>
                        <a:pt x="95" y="14"/>
                      </a:cubicBezTo>
                      <a:cubicBezTo>
                        <a:pt x="97" y="13"/>
                        <a:pt x="101" y="12"/>
                        <a:pt x="104" y="12"/>
                      </a:cubicBezTo>
                      <a:cubicBezTo>
                        <a:pt x="107" y="12"/>
                        <a:pt x="110" y="10"/>
                        <a:pt x="110" y="8"/>
                      </a:cubicBezTo>
                      <a:cubicBezTo>
                        <a:pt x="110" y="6"/>
                        <a:pt x="107" y="2"/>
                        <a:pt x="109" y="2"/>
                      </a:cubicBezTo>
                      <a:cubicBezTo>
                        <a:pt x="111" y="1"/>
                        <a:pt x="114" y="0"/>
                        <a:pt x="114" y="0"/>
                      </a:cubicBezTo>
                      <a:cubicBezTo>
                        <a:pt x="113" y="1"/>
                        <a:pt x="115" y="2"/>
                        <a:pt x="116" y="3"/>
                      </a:cubicBezTo>
                      <a:cubicBezTo>
                        <a:pt x="118" y="5"/>
                        <a:pt x="118" y="6"/>
                        <a:pt x="118" y="7"/>
                      </a:cubicBezTo>
                      <a:cubicBezTo>
                        <a:pt x="119" y="9"/>
                        <a:pt x="119" y="10"/>
                        <a:pt x="117" y="12"/>
                      </a:cubicBezTo>
                      <a:cubicBezTo>
                        <a:pt x="115" y="13"/>
                        <a:pt x="114" y="14"/>
                        <a:pt x="114" y="17"/>
                      </a:cubicBezTo>
                      <a:cubicBezTo>
                        <a:pt x="114" y="19"/>
                        <a:pt x="114" y="21"/>
                        <a:pt x="114" y="23"/>
                      </a:cubicBezTo>
                      <a:cubicBezTo>
                        <a:pt x="113" y="24"/>
                        <a:pt x="109" y="27"/>
                        <a:pt x="109" y="27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2" name="Freeform 72">
                  <a:extLst>
                    <a:ext uri="{FF2B5EF4-FFF2-40B4-BE49-F238E27FC236}">
                      <a16:creationId xmlns:a16="http://schemas.microsoft.com/office/drawing/2014/main" id="{944BAF46-46C0-7AB1-762E-864A696522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76764" y="5684838"/>
                  <a:ext cx="28575" cy="28575"/>
                </a:xfrm>
                <a:custGeom>
                  <a:avLst/>
                  <a:gdLst>
                    <a:gd name="T0" fmla="*/ 4 w 7"/>
                    <a:gd name="T1" fmla="*/ 0 h 7"/>
                    <a:gd name="T2" fmla="*/ 1 w 7"/>
                    <a:gd name="T3" fmla="*/ 5 h 7"/>
                    <a:gd name="T4" fmla="*/ 5 w 7"/>
                    <a:gd name="T5" fmla="*/ 6 h 7"/>
                    <a:gd name="T6" fmla="*/ 4 w 7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7">
                      <a:moveTo>
                        <a:pt x="4" y="0"/>
                      </a:moveTo>
                      <a:cubicBezTo>
                        <a:pt x="2" y="0"/>
                        <a:pt x="0" y="3"/>
                        <a:pt x="1" y="5"/>
                      </a:cubicBezTo>
                      <a:cubicBezTo>
                        <a:pt x="1" y="7"/>
                        <a:pt x="3" y="7"/>
                        <a:pt x="5" y="6"/>
                      </a:cubicBezTo>
                      <a:cubicBezTo>
                        <a:pt x="7" y="5"/>
                        <a:pt x="7" y="0"/>
                        <a:pt x="4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3" name="Freeform 74">
                  <a:extLst>
                    <a:ext uri="{FF2B5EF4-FFF2-40B4-BE49-F238E27FC236}">
                      <a16:creationId xmlns:a16="http://schemas.microsoft.com/office/drawing/2014/main" id="{035D66A6-7E6B-6E9C-2255-E4811DE3DA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56139" y="5713413"/>
                  <a:ext cx="15875" cy="25400"/>
                </a:xfrm>
                <a:custGeom>
                  <a:avLst/>
                  <a:gdLst>
                    <a:gd name="T0" fmla="*/ 2 w 4"/>
                    <a:gd name="T1" fmla="*/ 1 h 6"/>
                    <a:gd name="T2" fmla="*/ 1 w 4"/>
                    <a:gd name="T3" fmla="*/ 4 h 6"/>
                    <a:gd name="T4" fmla="*/ 3 w 4"/>
                    <a:gd name="T5" fmla="*/ 5 h 6"/>
                    <a:gd name="T6" fmla="*/ 2 w 4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2" y="1"/>
                      </a:moveTo>
                      <a:cubicBezTo>
                        <a:pt x="2" y="0"/>
                        <a:pt x="0" y="3"/>
                        <a:pt x="1" y="4"/>
                      </a:cubicBezTo>
                      <a:cubicBezTo>
                        <a:pt x="1" y="6"/>
                        <a:pt x="3" y="5"/>
                        <a:pt x="3" y="5"/>
                      </a:cubicBezTo>
                      <a:cubicBezTo>
                        <a:pt x="4" y="4"/>
                        <a:pt x="4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4" name="Freeform 75">
                  <a:extLst>
                    <a:ext uri="{FF2B5EF4-FFF2-40B4-BE49-F238E27FC236}">
                      <a16:creationId xmlns:a16="http://schemas.microsoft.com/office/drawing/2014/main" id="{B8D936A0-8FDF-68D2-6F90-A74AF00743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72014" y="5746750"/>
                  <a:ext cx="25400" cy="22225"/>
                </a:xfrm>
                <a:custGeom>
                  <a:avLst/>
                  <a:gdLst>
                    <a:gd name="T0" fmla="*/ 4 w 6"/>
                    <a:gd name="T1" fmla="*/ 0 h 5"/>
                    <a:gd name="T2" fmla="*/ 0 w 6"/>
                    <a:gd name="T3" fmla="*/ 3 h 5"/>
                    <a:gd name="T4" fmla="*/ 4 w 6"/>
                    <a:gd name="T5" fmla="*/ 4 h 5"/>
                    <a:gd name="T6" fmla="*/ 4 w 6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4" y="0"/>
                      </a:moveTo>
                      <a:cubicBezTo>
                        <a:pt x="3" y="0"/>
                        <a:pt x="0" y="1"/>
                        <a:pt x="0" y="3"/>
                      </a:cubicBezTo>
                      <a:cubicBezTo>
                        <a:pt x="0" y="4"/>
                        <a:pt x="2" y="5"/>
                        <a:pt x="4" y="4"/>
                      </a:cubicBezTo>
                      <a:cubicBezTo>
                        <a:pt x="6" y="4"/>
                        <a:pt x="6" y="1"/>
                        <a:pt x="4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5" name="Freeform 76">
                  <a:extLst>
                    <a:ext uri="{FF2B5EF4-FFF2-40B4-BE49-F238E27FC236}">
                      <a16:creationId xmlns:a16="http://schemas.microsoft.com/office/drawing/2014/main" id="{486F7687-F798-A659-7EA3-0AF8A714A86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22801" y="5768975"/>
                  <a:ext cx="36513" cy="33338"/>
                </a:xfrm>
                <a:custGeom>
                  <a:avLst/>
                  <a:gdLst>
                    <a:gd name="T0" fmla="*/ 4 w 9"/>
                    <a:gd name="T1" fmla="*/ 1 h 8"/>
                    <a:gd name="T2" fmla="*/ 1 w 9"/>
                    <a:gd name="T3" fmla="*/ 6 h 8"/>
                    <a:gd name="T4" fmla="*/ 5 w 9"/>
                    <a:gd name="T5" fmla="*/ 7 h 8"/>
                    <a:gd name="T6" fmla="*/ 8 w 9"/>
                    <a:gd name="T7" fmla="*/ 3 h 8"/>
                    <a:gd name="T8" fmla="*/ 4 w 9"/>
                    <a:gd name="T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8">
                      <a:moveTo>
                        <a:pt x="4" y="1"/>
                      </a:moveTo>
                      <a:cubicBezTo>
                        <a:pt x="2" y="1"/>
                        <a:pt x="1" y="4"/>
                        <a:pt x="1" y="6"/>
                      </a:cubicBezTo>
                      <a:cubicBezTo>
                        <a:pt x="0" y="8"/>
                        <a:pt x="3" y="8"/>
                        <a:pt x="5" y="7"/>
                      </a:cubicBezTo>
                      <a:cubicBezTo>
                        <a:pt x="7" y="6"/>
                        <a:pt x="8" y="5"/>
                        <a:pt x="8" y="3"/>
                      </a:cubicBezTo>
                      <a:cubicBezTo>
                        <a:pt x="9" y="1"/>
                        <a:pt x="7" y="0"/>
                        <a:pt x="4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6" name="Freeform 77">
                  <a:extLst>
                    <a:ext uri="{FF2B5EF4-FFF2-40B4-BE49-F238E27FC236}">
                      <a16:creationId xmlns:a16="http://schemas.microsoft.com/office/drawing/2014/main" id="{D265CABF-B75C-38E6-0D71-4C561084273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92651" y="5843588"/>
                  <a:ext cx="63500" cy="53975"/>
                </a:xfrm>
                <a:custGeom>
                  <a:avLst/>
                  <a:gdLst>
                    <a:gd name="T0" fmla="*/ 9 w 15"/>
                    <a:gd name="T1" fmla="*/ 1 h 13"/>
                    <a:gd name="T2" fmla="*/ 6 w 15"/>
                    <a:gd name="T3" fmla="*/ 3 h 13"/>
                    <a:gd name="T4" fmla="*/ 1 w 15"/>
                    <a:gd name="T5" fmla="*/ 5 h 13"/>
                    <a:gd name="T6" fmla="*/ 5 w 15"/>
                    <a:gd name="T7" fmla="*/ 8 h 13"/>
                    <a:gd name="T8" fmla="*/ 7 w 15"/>
                    <a:gd name="T9" fmla="*/ 12 h 13"/>
                    <a:gd name="T10" fmla="*/ 13 w 15"/>
                    <a:gd name="T11" fmla="*/ 12 h 13"/>
                    <a:gd name="T12" fmla="*/ 14 w 15"/>
                    <a:gd name="T13" fmla="*/ 8 h 13"/>
                    <a:gd name="T14" fmla="*/ 9 w 15"/>
                    <a:gd name="T15" fmla="*/ 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" h="13">
                      <a:moveTo>
                        <a:pt x="9" y="1"/>
                      </a:moveTo>
                      <a:cubicBezTo>
                        <a:pt x="7" y="0"/>
                        <a:pt x="8" y="2"/>
                        <a:pt x="6" y="3"/>
                      </a:cubicBezTo>
                      <a:cubicBezTo>
                        <a:pt x="3" y="4"/>
                        <a:pt x="2" y="2"/>
                        <a:pt x="1" y="5"/>
                      </a:cubicBezTo>
                      <a:cubicBezTo>
                        <a:pt x="0" y="8"/>
                        <a:pt x="4" y="8"/>
                        <a:pt x="5" y="8"/>
                      </a:cubicBezTo>
                      <a:cubicBezTo>
                        <a:pt x="7" y="7"/>
                        <a:pt x="7" y="10"/>
                        <a:pt x="7" y="12"/>
                      </a:cubicBezTo>
                      <a:cubicBezTo>
                        <a:pt x="8" y="13"/>
                        <a:pt x="11" y="13"/>
                        <a:pt x="13" y="12"/>
                      </a:cubicBezTo>
                      <a:cubicBezTo>
                        <a:pt x="15" y="12"/>
                        <a:pt x="15" y="11"/>
                        <a:pt x="14" y="8"/>
                      </a:cubicBezTo>
                      <a:cubicBezTo>
                        <a:pt x="13" y="6"/>
                        <a:pt x="11" y="3"/>
                        <a:pt x="9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7" name="Freeform 78">
                  <a:extLst>
                    <a:ext uri="{FF2B5EF4-FFF2-40B4-BE49-F238E27FC236}">
                      <a16:creationId xmlns:a16="http://schemas.microsoft.com/office/drawing/2014/main" id="{DBEDF2BC-1887-AF04-A554-EC685677103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79939" y="5892800"/>
                  <a:ext cx="20638" cy="30163"/>
                </a:xfrm>
                <a:custGeom>
                  <a:avLst/>
                  <a:gdLst>
                    <a:gd name="T0" fmla="*/ 3 w 5"/>
                    <a:gd name="T1" fmla="*/ 2 h 7"/>
                    <a:gd name="T2" fmla="*/ 1 w 5"/>
                    <a:gd name="T3" fmla="*/ 3 h 7"/>
                    <a:gd name="T4" fmla="*/ 3 w 5"/>
                    <a:gd name="T5" fmla="*/ 7 h 7"/>
                    <a:gd name="T6" fmla="*/ 3 w 5"/>
                    <a:gd name="T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7">
                      <a:moveTo>
                        <a:pt x="3" y="2"/>
                      </a:moveTo>
                      <a:cubicBezTo>
                        <a:pt x="2" y="0"/>
                        <a:pt x="0" y="1"/>
                        <a:pt x="1" y="3"/>
                      </a:cubicBezTo>
                      <a:cubicBezTo>
                        <a:pt x="2" y="5"/>
                        <a:pt x="1" y="6"/>
                        <a:pt x="3" y="7"/>
                      </a:cubicBezTo>
                      <a:cubicBezTo>
                        <a:pt x="5" y="7"/>
                        <a:pt x="5" y="3"/>
                        <a:pt x="3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8" name="Freeform 79">
                  <a:extLst>
                    <a:ext uri="{FF2B5EF4-FFF2-40B4-BE49-F238E27FC236}">
                      <a16:creationId xmlns:a16="http://schemas.microsoft.com/office/drawing/2014/main" id="{2DE60C2A-39AF-1159-2442-6FFCE09D6F3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97414" y="5930900"/>
                  <a:ext cx="25400" cy="61913"/>
                </a:xfrm>
                <a:custGeom>
                  <a:avLst/>
                  <a:gdLst>
                    <a:gd name="T0" fmla="*/ 4 w 6"/>
                    <a:gd name="T1" fmla="*/ 1 h 15"/>
                    <a:gd name="T2" fmla="*/ 0 w 6"/>
                    <a:gd name="T3" fmla="*/ 4 h 15"/>
                    <a:gd name="T4" fmla="*/ 2 w 6"/>
                    <a:gd name="T5" fmla="*/ 8 h 15"/>
                    <a:gd name="T6" fmla="*/ 2 w 6"/>
                    <a:gd name="T7" fmla="*/ 13 h 15"/>
                    <a:gd name="T8" fmla="*/ 6 w 6"/>
                    <a:gd name="T9" fmla="*/ 12 h 15"/>
                    <a:gd name="T10" fmla="*/ 4 w 6"/>
                    <a:gd name="T11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5">
                      <a:moveTo>
                        <a:pt x="4" y="1"/>
                      </a:move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5"/>
                        <a:pt x="3" y="6"/>
                        <a:pt x="2" y="8"/>
                      </a:cubicBezTo>
                      <a:cubicBezTo>
                        <a:pt x="2" y="9"/>
                        <a:pt x="1" y="10"/>
                        <a:pt x="2" y="13"/>
                      </a:cubicBezTo>
                      <a:cubicBezTo>
                        <a:pt x="3" y="15"/>
                        <a:pt x="6" y="13"/>
                        <a:pt x="6" y="12"/>
                      </a:cubicBezTo>
                      <a:cubicBezTo>
                        <a:pt x="6" y="10"/>
                        <a:pt x="6" y="2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9" name="Freeform 80">
                  <a:extLst>
                    <a:ext uri="{FF2B5EF4-FFF2-40B4-BE49-F238E27FC236}">
                      <a16:creationId xmlns:a16="http://schemas.microsoft.com/office/drawing/2014/main" id="{440473DF-14B4-8582-BEA9-6F2CFBE7084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59326" y="6018213"/>
                  <a:ext cx="38100" cy="33338"/>
                </a:xfrm>
                <a:custGeom>
                  <a:avLst/>
                  <a:gdLst>
                    <a:gd name="T0" fmla="*/ 4 w 9"/>
                    <a:gd name="T1" fmla="*/ 2 h 8"/>
                    <a:gd name="T2" fmla="*/ 1 w 9"/>
                    <a:gd name="T3" fmla="*/ 3 h 8"/>
                    <a:gd name="T4" fmla="*/ 3 w 9"/>
                    <a:gd name="T5" fmla="*/ 5 h 8"/>
                    <a:gd name="T6" fmla="*/ 6 w 9"/>
                    <a:gd name="T7" fmla="*/ 6 h 8"/>
                    <a:gd name="T8" fmla="*/ 9 w 9"/>
                    <a:gd name="T9" fmla="*/ 3 h 8"/>
                    <a:gd name="T10" fmla="*/ 4 w 9"/>
                    <a:gd name="T11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8">
                      <a:moveTo>
                        <a:pt x="4" y="2"/>
                      </a:moveTo>
                      <a:cubicBezTo>
                        <a:pt x="2" y="0"/>
                        <a:pt x="1" y="2"/>
                        <a:pt x="1" y="3"/>
                      </a:cubicBezTo>
                      <a:cubicBezTo>
                        <a:pt x="0" y="5"/>
                        <a:pt x="2" y="5"/>
                        <a:pt x="3" y="5"/>
                      </a:cubicBezTo>
                      <a:cubicBezTo>
                        <a:pt x="5" y="6"/>
                        <a:pt x="5" y="8"/>
                        <a:pt x="6" y="6"/>
                      </a:cubicBezTo>
                      <a:cubicBezTo>
                        <a:pt x="8" y="5"/>
                        <a:pt x="9" y="3"/>
                        <a:pt x="9" y="3"/>
                      </a:cubicBezTo>
                      <a:cubicBezTo>
                        <a:pt x="8" y="2"/>
                        <a:pt x="4" y="2"/>
                        <a:pt x="4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0" name="Freeform 81">
                  <a:extLst>
                    <a:ext uri="{FF2B5EF4-FFF2-40B4-BE49-F238E27FC236}">
                      <a16:creationId xmlns:a16="http://schemas.microsoft.com/office/drawing/2014/main" id="{FE7647F5-00B4-752C-EC19-AD0E2C0E37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10101" y="5997575"/>
                  <a:ext cx="20638" cy="50800"/>
                </a:xfrm>
                <a:custGeom>
                  <a:avLst/>
                  <a:gdLst>
                    <a:gd name="T0" fmla="*/ 5 w 5"/>
                    <a:gd name="T1" fmla="*/ 8 h 12"/>
                    <a:gd name="T2" fmla="*/ 4 w 5"/>
                    <a:gd name="T3" fmla="*/ 4 h 12"/>
                    <a:gd name="T4" fmla="*/ 2 w 5"/>
                    <a:gd name="T5" fmla="*/ 2 h 12"/>
                    <a:gd name="T6" fmla="*/ 0 w 5"/>
                    <a:gd name="T7" fmla="*/ 4 h 12"/>
                    <a:gd name="T8" fmla="*/ 3 w 5"/>
                    <a:gd name="T9" fmla="*/ 7 h 12"/>
                    <a:gd name="T10" fmla="*/ 5 w 5"/>
                    <a:gd name="T11" fmla="*/ 10 h 12"/>
                    <a:gd name="T12" fmla="*/ 5 w 5"/>
                    <a:gd name="T13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2">
                      <a:moveTo>
                        <a:pt x="5" y="8"/>
                      </a:moveTo>
                      <a:cubicBezTo>
                        <a:pt x="5" y="6"/>
                        <a:pt x="5" y="5"/>
                        <a:pt x="4" y="4"/>
                      </a:cubicBezTo>
                      <a:cubicBezTo>
                        <a:pt x="2" y="3"/>
                        <a:pt x="2" y="3"/>
                        <a:pt x="2" y="2"/>
                      </a:cubicBezTo>
                      <a:cubicBezTo>
                        <a:pt x="2" y="0"/>
                        <a:pt x="0" y="2"/>
                        <a:pt x="0" y="4"/>
                      </a:cubicBezTo>
                      <a:cubicBezTo>
                        <a:pt x="0" y="6"/>
                        <a:pt x="2" y="6"/>
                        <a:pt x="3" y="7"/>
                      </a:cubicBezTo>
                      <a:cubicBezTo>
                        <a:pt x="3" y="8"/>
                        <a:pt x="4" y="12"/>
                        <a:pt x="5" y="10"/>
                      </a:cubicBezTo>
                      <a:cubicBezTo>
                        <a:pt x="5" y="8"/>
                        <a:pt x="5" y="8"/>
                        <a:pt x="5" y="8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1" name="Freeform 82">
                  <a:extLst>
                    <a:ext uri="{FF2B5EF4-FFF2-40B4-BE49-F238E27FC236}">
                      <a16:creationId xmlns:a16="http://schemas.microsoft.com/office/drawing/2014/main" id="{AC1175AC-B120-AA37-64C9-E2227CBDF6D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30739" y="6038850"/>
                  <a:ext cx="25400" cy="20638"/>
                </a:xfrm>
                <a:custGeom>
                  <a:avLst/>
                  <a:gdLst>
                    <a:gd name="T0" fmla="*/ 4 w 6"/>
                    <a:gd name="T1" fmla="*/ 1 h 5"/>
                    <a:gd name="T2" fmla="*/ 1 w 6"/>
                    <a:gd name="T3" fmla="*/ 2 h 5"/>
                    <a:gd name="T4" fmla="*/ 5 w 6"/>
                    <a:gd name="T5" fmla="*/ 5 h 5"/>
                    <a:gd name="T6" fmla="*/ 4 w 6"/>
                    <a:gd name="T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4" y="1"/>
                      </a:moveTo>
                      <a:cubicBezTo>
                        <a:pt x="3" y="0"/>
                        <a:pt x="0" y="1"/>
                        <a:pt x="1" y="2"/>
                      </a:cubicBezTo>
                      <a:cubicBezTo>
                        <a:pt x="3" y="4"/>
                        <a:pt x="3" y="5"/>
                        <a:pt x="5" y="5"/>
                      </a:cubicBezTo>
                      <a:cubicBezTo>
                        <a:pt x="6" y="5"/>
                        <a:pt x="6" y="2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2" name="Freeform 83">
                  <a:extLst>
                    <a:ext uri="{FF2B5EF4-FFF2-40B4-BE49-F238E27FC236}">
                      <a16:creationId xmlns:a16="http://schemas.microsoft.com/office/drawing/2014/main" id="{B06F99D7-A445-7682-0EFE-6A143F6F253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56139" y="6059488"/>
                  <a:ext cx="15875" cy="22225"/>
                </a:xfrm>
                <a:custGeom>
                  <a:avLst/>
                  <a:gdLst>
                    <a:gd name="T0" fmla="*/ 3 w 4"/>
                    <a:gd name="T1" fmla="*/ 0 h 5"/>
                    <a:gd name="T2" fmla="*/ 1 w 4"/>
                    <a:gd name="T3" fmla="*/ 3 h 5"/>
                    <a:gd name="T4" fmla="*/ 4 w 4"/>
                    <a:gd name="T5" fmla="*/ 2 h 5"/>
                    <a:gd name="T6" fmla="*/ 3 w 4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5">
                      <a:moveTo>
                        <a:pt x="3" y="0"/>
                      </a:moveTo>
                      <a:cubicBezTo>
                        <a:pt x="1" y="0"/>
                        <a:pt x="0" y="1"/>
                        <a:pt x="1" y="3"/>
                      </a:cubicBezTo>
                      <a:cubicBezTo>
                        <a:pt x="2" y="5"/>
                        <a:pt x="4" y="2"/>
                        <a:pt x="4" y="2"/>
                      </a:cubicBezTo>
                      <a:cubicBezTo>
                        <a:pt x="3" y="2"/>
                        <a:pt x="3" y="1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3" name="Freeform 84">
                  <a:extLst>
                    <a:ext uri="{FF2B5EF4-FFF2-40B4-BE49-F238E27FC236}">
                      <a16:creationId xmlns:a16="http://schemas.microsoft.com/office/drawing/2014/main" id="{8B29633C-F66B-AB0B-D8F1-D12E405774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10114" y="6035675"/>
                  <a:ext cx="41275" cy="28575"/>
                </a:xfrm>
                <a:custGeom>
                  <a:avLst/>
                  <a:gdLst>
                    <a:gd name="T0" fmla="*/ 7 w 10"/>
                    <a:gd name="T1" fmla="*/ 1 h 7"/>
                    <a:gd name="T2" fmla="*/ 2 w 10"/>
                    <a:gd name="T3" fmla="*/ 4 h 7"/>
                    <a:gd name="T4" fmla="*/ 4 w 10"/>
                    <a:gd name="T5" fmla="*/ 5 h 7"/>
                    <a:gd name="T6" fmla="*/ 7 w 10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0" h="7">
                      <a:moveTo>
                        <a:pt x="7" y="1"/>
                      </a:moveTo>
                      <a:cubicBezTo>
                        <a:pt x="5" y="1"/>
                        <a:pt x="3" y="2"/>
                        <a:pt x="2" y="4"/>
                      </a:cubicBezTo>
                      <a:cubicBezTo>
                        <a:pt x="0" y="6"/>
                        <a:pt x="2" y="7"/>
                        <a:pt x="4" y="5"/>
                      </a:cubicBezTo>
                      <a:cubicBezTo>
                        <a:pt x="6" y="4"/>
                        <a:pt x="10" y="0"/>
                        <a:pt x="7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4" name="Freeform 85">
                  <a:extLst>
                    <a:ext uri="{FF2B5EF4-FFF2-40B4-BE49-F238E27FC236}">
                      <a16:creationId xmlns:a16="http://schemas.microsoft.com/office/drawing/2014/main" id="{7C162AFA-6191-32FA-7B71-92A4221562A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89489" y="6122988"/>
                  <a:ext cx="41275" cy="38100"/>
                </a:xfrm>
                <a:custGeom>
                  <a:avLst/>
                  <a:gdLst>
                    <a:gd name="T0" fmla="*/ 7 w 10"/>
                    <a:gd name="T1" fmla="*/ 1 h 9"/>
                    <a:gd name="T2" fmla="*/ 2 w 10"/>
                    <a:gd name="T3" fmla="*/ 5 h 9"/>
                    <a:gd name="T4" fmla="*/ 2 w 10"/>
                    <a:gd name="T5" fmla="*/ 8 h 9"/>
                    <a:gd name="T6" fmla="*/ 6 w 10"/>
                    <a:gd name="T7" fmla="*/ 6 h 9"/>
                    <a:gd name="T8" fmla="*/ 7 w 10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9">
                      <a:moveTo>
                        <a:pt x="7" y="1"/>
                      </a:moveTo>
                      <a:cubicBezTo>
                        <a:pt x="5" y="1"/>
                        <a:pt x="4" y="3"/>
                        <a:pt x="2" y="5"/>
                      </a:cubicBezTo>
                      <a:cubicBezTo>
                        <a:pt x="0" y="6"/>
                        <a:pt x="0" y="9"/>
                        <a:pt x="2" y="8"/>
                      </a:cubicBezTo>
                      <a:cubicBezTo>
                        <a:pt x="4" y="8"/>
                        <a:pt x="4" y="6"/>
                        <a:pt x="6" y="6"/>
                      </a:cubicBezTo>
                      <a:cubicBezTo>
                        <a:pt x="9" y="5"/>
                        <a:pt x="10" y="0"/>
                        <a:pt x="7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5" name="Freeform 87">
                  <a:extLst>
                    <a:ext uri="{FF2B5EF4-FFF2-40B4-BE49-F238E27FC236}">
                      <a16:creationId xmlns:a16="http://schemas.microsoft.com/office/drawing/2014/main" id="{03596D90-57A1-53DA-6755-43530D0B0C0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56164" y="6176963"/>
                  <a:ext cx="49213" cy="71438"/>
                </a:xfrm>
                <a:custGeom>
                  <a:avLst/>
                  <a:gdLst>
                    <a:gd name="T0" fmla="*/ 9 w 12"/>
                    <a:gd name="T1" fmla="*/ 2 h 17"/>
                    <a:gd name="T2" fmla="*/ 3 w 12"/>
                    <a:gd name="T3" fmla="*/ 5 h 17"/>
                    <a:gd name="T4" fmla="*/ 0 w 12"/>
                    <a:gd name="T5" fmla="*/ 10 h 17"/>
                    <a:gd name="T6" fmla="*/ 1 w 12"/>
                    <a:gd name="T7" fmla="*/ 15 h 17"/>
                    <a:gd name="T8" fmla="*/ 5 w 12"/>
                    <a:gd name="T9" fmla="*/ 14 h 17"/>
                    <a:gd name="T10" fmla="*/ 8 w 12"/>
                    <a:gd name="T11" fmla="*/ 11 h 17"/>
                    <a:gd name="T12" fmla="*/ 9 w 12"/>
                    <a:gd name="T13" fmla="*/ 2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17">
                      <a:moveTo>
                        <a:pt x="9" y="2"/>
                      </a:moveTo>
                      <a:cubicBezTo>
                        <a:pt x="8" y="2"/>
                        <a:pt x="5" y="3"/>
                        <a:pt x="3" y="5"/>
                      </a:cubicBezTo>
                      <a:cubicBezTo>
                        <a:pt x="1" y="7"/>
                        <a:pt x="0" y="8"/>
                        <a:pt x="0" y="10"/>
                      </a:cubicBezTo>
                      <a:cubicBezTo>
                        <a:pt x="1" y="12"/>
                        <a:pt x="1" y="14"/>
                        <a:pt x="1" y="15"/>
                      </a:cubicBezTo>
                      <a:cubicBezTo>
                        <a:pt x="1" y="17"/>
                        <a:pt x="3" y="16"/>
                        <a:pt x="5" y="14"/>
                      </a:cubicBezTo>
                      <a:cubicBezTo>
                        <a:pt x="6" y="12"/>
                        <a:pt x="7" y="13"/>
                        <a:pt x="8" y="11"/>
                      </a:cubicBezTo>
                      <a:cubicBezTo>
                        <a:pt x="9" y="9"/>
                        <a:pt x="12" y="0"/>
                        <a:pt x="9" y="2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6" name="Freeform 88">
                  <a:extLst>
                    <a:ext uri="{FF2B5EF4-FFF2-40B4-BE49-F238E27FC236}">
                      <a16:creationId xmlns:a16="http://schemas.microsoft.com/office/drawing/2014/main" id="{5AC52089-83F1-ED60-B5DF-928FE4270F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8064" y="6181725"/>
                  <a:ext cx="20638" cy="12700"/>
                </a:xfrm>
                <a:custGeom>
                  <a:avLst/>
                  <a:gdLst>
                    <a:gd name="T0" fmla="*/ 3 w 5"/>
                    <a:gd name="T1" fmla="*/ 0 h 3"/>
                    <a:gd name="T2" fmla="*/ 2 w 5"/>
                    <a:gd name="T3" fmla="*/ 2 h 3"/>
                    <a:gd name="T4" fmla="*/ 3 w 5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5" h="3">
                      <a:moveTo>
                        <a:pt x="3" y="0"/>
                      </a:moveTo>
                      <a:cubicBezTo>
                        <a:pt x="1" y="0"/>
                        <a:pt x="0" y="1"/>
                        <a:pt x="2" y="2"/>
                      </a:cubicBezTo>
                      <a:cubicBezTo>
                        <a:pt x="3" y="3"/>
                        <a:pt x="5" y="0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7" name="Freeform 89">
                  <a:extLst>
                    <a:ext uri="{FF2B5EF4-FFF2-40B4-BE49-F238E27FC236}">
                      <a16:creationId xmlns:a16="http://schemas.microsoft.com/office/drawing/2014/main" id="{330D0ACA-9126-7DC1-98FE-8C42B9AE4A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59339" y="6161088"/>
                  <a:ext cx="12700" cy="15875"/>
                </a:xfrm>
                <a:custGeom>
                  <a:avLst/>
                  <a:gdLst>
                    <a:gd name="T0" fmla="*/ 1 w 3"/>
                    <a:gd name="T1" fmla="*/ 1 h 4"/>
                    <a:gd name="T2" fmla="*/ 1 w 3"/>
                    <a:gd name="T3" fmla="*/ 3 h 4"/>
                    <a:gd name="T4" fmla="*/ 1 w 3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1" y="1"/>
                      </a:moveTo>
                      <a:cubicBezTo>
                        <a:pt x="0" y="0"/>
                        <a:pt x="0" y="2"/>
                        <a:pt x="1" y="3"/>
                      </a:cubicBezTo>
                      <a:cubicBezTo>
                        <a:pt x="2" y="4"/>
                        <a:pt x="3" y="2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8" name="Freeform 90">
                  <a:extLst>
                    <a:ext uri="{FF2B5EF4-FFF2-40B4-BE49-F238E27FC236}">
                      <a16:creationId xmlns:a16="http://schemas.microsoft.com/office/drawing/2014/main" id="{99A20CAF-4F11-AE92-93FE-E1DC29E5F1A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79964" y="6110288"/>
                  <a:ext cx="22225" cy="25400"/>
                </a:xfrm>
                <a:custGeom>
                  <a:avLst/>
                  <a:gdLst>
                    <a:gd name="T0" fmla="*/ 4 w 5"/>
                    <a:gd name="T1" fmla="*/ 1 h 6"/>
                    <a:gd name="T2" fmla="*/ 2 w 5"/>
                    <a:gd name="T3" fmla="*/ 4 h 6"/>
                    <a:gd name="T4" fmla="*/ 4 w 5"/>
                    <a:gd name="T5" fmla="*/ 2 h 6"/>
                    <a:gd name="T6" fmla="*/ 4 w 5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6">
                      <a:moveTo>
                        <a:pt x="4" y="1"/>
                      </a:moveTo>
                      <a:cubicBezTo>
                        <a:pt x="2" y="1"/>
                        <a:pt x="0" y="3"/>
                        <a:pt x="2" y="4"/>
                      </a:cubicBezTo>
                      <a:cubicBezTo>
                        <a:pt x="3" y="6"/>
                        <a:pt x="4" y="3"/>
                        <a:pt x="4" y="2"/>
                      </a:cubicBezTo>
                      <a:cubicBezTo>
                        <a:pt x="5" y="2"/>
                        <a:pt x="5" y="0"/>
                        <a:pt x="4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39" name="Freeform 91">
                  <a:extLst>
                    <a:ext uri="{FF2B5EF4-FFF2-40B4-BE49-F238E27FC236}">
                      <a16:creationId xmlns:a16="http://schemas.microsoft.com/office/drawing/2014/main" id="{F68EBDE5-A3DD-EDAE-285A-DE48447BF1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30751" y="6156325"/>
                  <a:ext cx="28575" cy="15875"/>
                </a:xfrm>
                <a:custGeom>
                  <a:avLst/>
                  <a:gdLst>
                    <a:gd name="T0" fmla="*/ 5 w 7"/>
                    <a:gd name="T1" fmla="*/ 1 h 4"/>
                    <a:gd name="T2" fmla="*/ 3 w 7"/>
                    <a:gd name="T3" fmla="*/ 3 h 4"/>
                    <a:gd name="T4" fmla="*/ 7 w 7"/>
                    <a:gd name="T5" fmla="*/ 2 h 4"/>
                    <a:gd name="T6" fmla="*/ 5 w 7"/>
                    <a:gd name="T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4">
                      <a:moveTo>
                        <a:pt x="5" y="1"/>
                      </a:moveTo>
                      <a:cubicBezTo>
                        <a:pt x="3" y="0"/>
                        <a:pt x="0" y="2"/>
                        <a:pt x="3" y="3"/>
                      </a:cubicBezTo>
                      <a:cubicBezTo>
                        <a:pt x="6" y="4"/>
                        <a:pt x="7" y="3"/>
                        <a:pt x="7" y="2"/>
                      </a:cubicBezTo>
                      <a:cubicBezTo>
                        <a:pt x="7" y="1"/>
                        <a:pt x="7" y="0"/>
                        <a:pt x="5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0" name="Freeform 92">
                  <a:extLst>
                    <a:ext uri="{FF2B5EF4-FFF2-40B4-BE49-F238E27FC236}">
                      <a16:creationId xmlns:a16="http://schemas.microsoft.com/office/drawing/2014/main" id="{66CFEF42-D1D2-C814-19E8-73E2A147C2D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0126" y="6248400"/>
                  <a:ext cx="15875" cy="58738"/>
                </a:xfrm>
                <a:custGeom>
                  <a:avLst/>
                  <a:gdLst>
                    <a:gd name="T0" fmla="*/ 2 w 4"/>
                    <a:gd name="T1" fmla="*/ 6 h 14"/>
                    <a:gd name="T2" fmla="*/ 3 w 4"/>
                    <a:gd name="T3" fmla="*/ 1 h 14"/>
                    <a:gd name="T4" fmla="*/ 1 w 4"/>
                    <a:gd name="T5" fmla="*/ 3 h 14"/>
                    <a:gd name="T6" fmla="*/ 0 w 4"/>
                    <a:gd name="T7" fmla="*/ 8 h 14"/>
                    <a:gd name="T8" fmla="*/ 1 w 4"/>
                    <a:gd name="T9" fmla="*/ 12 h 14"/>
                    <a:gd name="T10" fmla="*/ 4 w 4"/>
                    <a:gd name="T11" fmla="*/ 11 h 14"/>
                    <a:gd name="T12" fmla="*/ 2 w 4"/>
                    <a:gd name="T13" fmla="*/ 6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14">
                      <a:moveTo>
                        <a:pt x="2" y="6"/>
                      </a:moveTo>
                      <a:cubicBezTo>
                        <a:pt x="3" y="4"/>
                        <a:pt x="4" y="2"/>
                        <a:pt x="3" y="1"/>
                      </a:cubicBezTo>
                      <a:cubicBezTo>
                        <a:pt x="2" y="0"/>
                        <a:pt x="2" y="1"/>
                        <a:pt x="1" y="3"/>
                      </a:cubicBezTo>
                      <a:cubicBezTo>
                        <a:pt x="0" y="6"/>
                        <a:pt x="0" y="6"/>
                        <a:pt x="0" y="8"/>
                      </a:cubicBezTo>
                      <a:cubicBezTo>
                        <a:pt x="0" y="10"/>
                        <a:pt x="2" y="11"/>
                        <a:pt x="1" y="12"/>
                      </a:cubicBezTo>
                      <a:cubicBezTo>
                        <a:pt x="1" y="14"/>
                        <a:pt x="3" y="13"/>
                        <a:pt x="4" y="11"/>
                      </a:cubicBezTo>
                      <a:cubicBezTo>
                        <a:pt x="4" y="9"/>
                        <a:pt x="3" y="9"/>
                        <a:pt x="2" y="6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1" name="Freeform 93">
                  <a:extLst>
                    <a:ext uri="{FF2B5EF4-FFF2-40B4-BE49-F238E27FC236}">
                      <a16:creationId xmlns:a16="http://schemas.microsoft.com/office/drawing/2014/main" id="{B8FBC4A4-5D3D-2A52-C56A-12F9A6C4AA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789489" y="6294438"/>
                  <a:ext cx="15875" cy="15875"/>
                </a:xfrm>
                <a:custGeom>
                  <a:avLst/>
                  <a:gdLst>
                    <a:gd name="T0" fmla="*/ 3 w 4"/>
                    <a:gd name="T1" fmla="*/ 1 h 4"/>
                    <a:gd name="T2" fmla="*/ 1 w 4"/>
                    <a:gd name="T3" fmla="*/ 4 h 4"/>
                    <a:gd name="T4" fmla="*/ 3 w 4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4">
                      <a:moveTo>
                        <a:pt x="3" y="1"/>
                      </a:moveTo>
                      <a:cubicBezTo>
                        <a:pt x="2" y="1"/>
                        <a:pt x="0" y="4"/>
                        <a:pt x="1" y="4"/>
                      </a:cubicBezTo>
                      <a:cubicBezTo>
                        <a:pt x="3" y="3"/>
                        <a:pt x="4" y="0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2" name="Freeform 94">
                  <a:extLst>
                    <a:ext uri="{FF2B5EF4-FFF2-40B4-BE49-F238E27FC236}">
                      <a16:creationId xmlns:a16="http://schemas.microsoft.com/office/drawing/2014/main" id="{0130A454-A637-B4B8-986F-67A56A1ECF7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25964" y="6269038"/>
                  <a:ext cx="225425" cy="87313"/>
                </a:xfrm>
                <a:custGeom>
                  <a:avLst/>
                  <a:gdLst>
                    <a:gd name="T0" fmla="*/ 51 w 54"/>
                    <a:gd name="T1" fmla="*/ 13 h 21"/>
                    <a:gd name="T2" fmla="*/ 53 w 54"/>
                    <a:gd name="T3" fmla="*/ 13 h 21"/>
                    <a:gd name="T4" fmla="*/ 52 w 54"/>
                    <a:gd name="T5" fmla="*/ 19 h 21"/>
                    <a:gd name="T6" fmla="*/ 47 w 54"/>
                    <a:gd name="T7" fmla="*/ 19 h 21"/>
                    <a:gd name="T8" fmla="*/ 41 w 54"/>
                    <a:gd name="T9" fmla="*/ 19 h 21"/>
                    <a:gd name="T10" fmla="*/ 34 w 54"/>
                    <a:gd name="T11" fmla="*/ 19 h 21"/>
                    <a:gd name="T12" fmla="*/ 25 w 54"/>
                    <a:gd name="T13" fmla="*/ 20 h 21"/>
                    <a:gd name="T14" fmla="*/ 23 w 54"/>
                    <a:gd name="T15" fmla="*/ 16 h 21"/>
                    <a:gd name="T16" fmla="*/ 15 w 54"/>
                    <a:gd name="T17" fmla="*/ 14 h 21"/>
                    <a:gd name="T18" fmla="*/ 8 w 54"/>
                    <a:gd name="T19" fmla="*/ 13 h 21"/>
                    <a:gd name="T20" fmla="*/ 2 w 54"/>
                    <a:gd name="T21" fmla="*/ 12 h 21"/>
                    <a:gd name="T22" fmla="*/ 1 w 54"/>
                    <a:gd name="T23" fmla="*/ 6 h 21"/>
                    <a:gd name="T24" fmla="*/ 2 w 54"/>
                    <a:gd name="T25" fmla="*/ 4 h 21"/>
                    <a:gd name="T26" fmla="*/ 4 w 54"/>
                    <a:gd name="T27" fmla="*/ 3 h 21"/>
                    <a:gd name="T28" fmla="*/ 5 w 54"/>
                    <a:gd name="T29" fmla="*/ 1 h 21"/>
                    <a:gd name="T30" fmla="*/ 8 w 54"/>
                    <a:gd name="T31" fmla="*/ 5 h 21"/>
                    <a:gd name="T32" fmla="*/ 13 w 54"/>
                    <a:gd name="T33" fmla="*/ 4 h 21"/>
                    <a:gd name="T34" fmla="*/ 14 w 54"/>
                    <a:gd name="T35" fmla="*/ 7 h 21"/>
                    <a:gd name="T36" fmla="*/ 19 w 54"/>
                    <a:gd name="T37" fmla="*/ 9 h 21"/>
                    <a:gd name="T38" fmla="*/ 25 w 54"/>
                    <a:gd name="T39" fmla="*/ 7 h 21"/>
                    <a:gd name="T40" fmla="*/ 29 w 54"/>
                    <a:gd name="T41" fmla="*/ 8 h 21"/>
                    <a:gd name="T42" fmla="*/ 34 w 54"/>
                    <a:gd name="T43" fmla="*/ 9 h 21"/>
                    <a:gd name="T44" fmla="*/ 37 w 54"/>
                    <a:gd name="T45" fmla="*/ 11 h 21"/>
                    <a:gd name="T46" fmla="*/ 43 w 54"/>
                    <a:gd name="T47" fmla="*/ 9 h 21"/>
                    <a:gd name="T48" fmla="*/ 43 w 54"/>
                    <a:gd name="T49" fmla="*/ 15 h 21"/>
                    <a:gd name="T50" fmla="*/ 47 w 54"/>
                    <a:gd name="T51" fmla="*/ 14 h 21"/>
                    <a:gd name="T52" fmla="*/ 51 w 54"/>
                    <a:gd name="T53" fmla="*/ 13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54" h="21">
                      <a:moveTo>
                        <a:pt x="51" y="13"/>
                      </a:moveTo>
                      <a:cubicBezTo>
                        <a:pt x="52" y="11"/>
                        <a:pt x="53" y="11"/>
                        <a:pt x="53" y="13"/>
                      </a:cubicBezTo>
                      <a:cubicBezTo>
                        <a:pt x="53" y="16"/>
                        <a:pt x="54" y="18"/>
                        <a:pt x="52" y="19"/>
                      </a:cubicBezTo>
                      <a:cubicBezTo>
                        <a:pt x="51" y="20"/>
                        <a:pt x="49" y="19"/>
                        <a:pt x="47" y="19"/>
                      </a:cubicBezTo>
                      <a:cubicBezTo>
                        <a:pt x="46" y="19"/>
                        <a:pt x="43" y="19"/>
                        <a:pt x="41" y="19"/>
                      </a:cubicBezTo>
                      <a:cubicBezTo>
                        <a:pt x="40" y="19"/>
                        <a:pt x="37" y="18"/>
                        <a:pt x="34" y="19"/>
                      </a:cubicBezTo>
                      <a:cubicBezTo>
                        <a:pt x="30" y="21"/>
                        <a:pt x="27" y="21"/>
                        <a:pt x="25" y="20"/>
                      </a:cubicBezTo>
                      <a:cubicBezTo>
                        <a:pt x="24" y="19"/>
                        <a:pt x="25" y="18"/>
                        <a:pt x="23" y="16"/>
                      </a:cubicBezTo>
                      <a:cubicBezTo>
                        <a:pt x="21" y="15"/>
                        <a:pt x="17" y="14"/>
                        <a:pt x="15" y="14"/>
                      </a:cubicBezTo>
                      <a:cubicBezTo>
                        <a:pt x="14" y="14"/>
                        <a:pt x="9" y="14"/>
                        <a:pt x="8" y="13"/>
                      </a:cubicBezTo>
                      <a:cubicBezTo>
                        <a:pt x="6" y="11"/>
                        <a:pt x="3" y="14"/>
                        <a:pt x="2" y="12"/>
                      </a:cubicBezTo>
                      <a:cubicBezTo>
                        <a:pt x="0" y="11"/>
                        <a:pt x="1" y="7"/>
                        <a:pt x="1" y="6"/>
                      </a:cubicBezTo>
                      <a:cubicBezTo>
                        <a:pt x="1" y="4"/>
                        <a:pt x="1" y="2"/>
                        <a:pt x="2" y="4"/>
                      </a:cubicBezTo>
                      <a:cubicBezTo>
                        <a:pt x="4" y="6"/>
                        <a:pt x="5" y="4"/>
                        <a:pt x="4" y="3"/>
                      </a:cubicBezTo>
                      <a:cubicBezTo>
                        <a:pt x="4" y="2"/>
                        <a:pt x="4" y="0"/>
                        <a:pt x="5" y="1"/>
                      </a:cubicBezTo>
                      <a:cubicBezTo>
                        <a:pt x="6" y="3"/>
                        <a:pt x="7" y="5"/>
                        <a:pt x="8" y="5"/>
                      </a:cubicBezTo>
                      <a:cubicBezTo>
                        <a:pt x="10" y="4"/>
                        <a:pt x="14" y="2"/>
                        <a:pt x="13" y="4"/>
                      </a:cubicBezTo>
                      <a:cubicBezTo>
                        <a:pt x="12" y="5"/>
                        <a:pt x="12" y="6"/>
                        <a:pt x="14" y="7"/>
                      </a:cubicBezTo>
                      <a:cubicBezTo>
                        <a:pt x="15" y="9"/>
                        <a:pt x="17" y="10"/>
                        <a:pt x="19" y="9"/>
                      </a:cubicBezTo>
                      <a:cubicBezTo>
                        <a:pt x="21" y="8"/>
                        <a:pt x="23" y="7"/>
                        <a:pt x="25" y="7"/>
                      </a:cubicBezTo>
                      <a:cubicBezTo>
                        <a:pt x="27" y="8"/>
                        <a:pt x="28" y="7"/>
                        <a:pt x="29" y="8"/>
                      </a:cubicBezTo>
                      <a:cubicBezTo>
                        <a:pt x="31" y="10"/>
                        <a:pt x="32" y="10"/>
                        <a:pt x="34" y="9"/>
                      </a:cubicBezTo>
                      <a:cubicBezTo>
                        <a:pt x="36" y="9"/>
                        <a:pt x="35" y="11"/>
                        <a:pt x="37" y="11"/>
                      </a:cubicBezTo>
                      <a:cubicBezTo>
                        <a:pt x="40" y="11"/>
                        <a:pt x="42" y="7"/>
                        <a:pt x="43" y="9"/>
                      </a:cubicBezTo>
                      <a:cubicBezTo>
                        <a:pt x="43" y="12"/>
                        <a:pt x="42" y="13"/>
                        <a:pt x="43" y="15"/>
                      </a:cubicBezTo>
                      <a:cubicBezTo>
                        <a:pt x="45" y="16"/>
                        <a:pt x="46" y="15"/>
                        <a:pt x="47" y="14"/>
                      </a:cubicBezTo>
                      <a:cubicBezTo>
                        <a:pt x="48" y="12"/>
                        <a:pt x="50" y="14"/>
                        <a:pt x="51" y="1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3" name="Freeform 95">
                  <a:extLst>
                    <a:ext uri="{FF2B5EF4-FFF2-40B4-BE49-F238E27FC236}">
                      <a16:creationId xmlns:a16="http://schemas.microsoft.com/office/drawing/2014/main" id="{82444B0E-0D28-FB1E-2020-30E0DD6DF32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89476" y="6127750"/>
                  <a:ext cx="33338" cy="20638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4 h 5"/>
                    <a:gd name="T4" fmla="*/ 8 w 8"/>
                    <a:gd name="T5" fmla="*/ 2 h 5"/>
                    <a:gd name="T6" fmla="*/ 7 w 8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cubicBezTo>
                        <a:pt x="4" y="0"/>
                        <a:pt x="0" y="4"/>
                        <a:pt x="2" y="4"/>
                      </a:cubicBezTo>
                      <a:cubicBezTo>
                        <a:pt x="5" y="5"/>
                        <a:pt x="7" y="4"/>
                        <a:pt x="8" y="2"/>
                      </a:cubicBezTo>
                      <a:cubicBezTo>
                        <a:pt x="8" y="1"/>
                        <a:pt x="8" y="0"/>
                        <a:pt x="7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4" name="Freeform 96">
                  <a:extLst>
                    <a:ext uri="{FF2B5EF4-FFF2-40B4-BE49-F238E27FC236}">
                      <a16:creationId xmlns:a16="http://schemas.microsoft.com/office/drawing/2014/main" id="{BF16E5B6-B965-D0CC-4AB3-60F77815AD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7251" y="6181725"/>
                  <a:ext cx="12700" cy="15875"/>
                </a:xfrm>
                <a:custGeom>
                  <a:avLst/>
                  <a:gdLst>
                    <a:gd name="T0" fmla="*/ 2 w 3"/>
                    <a:gd name="T1" fmla="*/ 1 h 4"/>
                    <a:gd name="T2" fmla="*/ 2 w 3"/>
                    <a:gd name="T3" fmla="*/ 3 h 4"/>
                    <a:gd name="T4" fmla="*/ 2 w 3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1" y="0"/>
                        <a:pt x="0" y="2"/>
                        <a:pt x="2" y="3"/>
                      </a:cubicBezTo>
                      <a:cubicBezTo>
                        <a:pt x="3" y="4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5" name="Freeform 97">
                  <a:extLst>
                    <a:ext uri="{FF2B5EF4-FFF2-40B4-BE49-F238E27FC236}">
                      <a16:creationId xmlns:a16="http://schemas.microsoft.com/office/drawing/2014/main" id="{E45927C4-72A6-8E89-9A01-D61EE186645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56139" y="6143625"/>
                  <a:ext cx="15875" cy="17463"/>
                </a:xfrm>
                <a:custGeom>
                  <a:avLst/>
                  <a:gdLst>
                    <a:gd name="T0" fmla="*/ 3 w 4"/>
                    <a:gd name="T1" fmla="*/ 1 h 4"/>
                    <a:gd name="T2" fmla="*/ 2 w 4"/>
                    <a:gd name="T3" fmla="*/ 3 h 4"/>
                    <a:gd name="T4" fmla="*/ 4 w 4"/>
                    <a:gd name="T5" fmla="*/ 3 h 4"/>
                    <a:gd name="T6" fmla="*/ 3 w 4"/>
                    <a:gd name="T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3" y="1"/>
                      </a:moveTo>
                      <a:cubicBezTo>
                        <a:pt x="1" y="0"/>
                        <a:pt x="0" y="1"/>
                        <a:pt x="2" y="3"/>
                      </a:cubicBezTo>
                      <a:cubicBezTo>
                        <a:pt x="3" y="4"/>
                        <a:pt x="4" y="4"/>
                        <a:pt x="4" y="3"/>
                      </a:cubicBezTo>
                      <a:cubicBezTo>
                        <a:pt x="4" y="2"/>
                        <a:pt x="4" y="1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6" name="Freeform 98">
                  <a:extLst>
                    <a:ext uri="{FF2B5EF4-FFF2-40B4-BE49-F238E27FC236}">
                      <a16:creationId xmlns:a16="http://schemas.microsoft.com/office/drawing/2014/main" id="{9518FFD7-8932-52B1-7571-EF4CE8D0D68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67251" y="6094413"/>
                  <a:ext cx="17463" cy="33338"/>
                </a:xfrm>
                <a:custGeom>
                  <a:avLst/>
                  <a:gdLst>
                    <a:gd name="T0" fmla="*/ 3 w 4"/>
                    <a:gd name="T1" fmla="*/ 1 h 8"/>
                    <a:gd name="T2" fmla="*/ 0 w 4"/>
                    <a:gd name="T3" fmla="*/ 3 h 8"/>
                    <a:gd name="T4" fmla="*/ 1 w 4"/>
                    <a:gd name="T5" fmla="*/ 7 h 8"/>
                    <a:gd name="T6" fmla="*/ 4 w 4"/>
                    <a:gd name="T7" fmla="*/ 3 h 8"/>
                    <a:gd name="T8" fmla="*/ 3 w 4"/>
                    <a:gd name="T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8">
                      <a:moveTo>
                        <a:pt x="3" y="1"/>
                      </a:moveTo>
                      <a:cubicBezTo>
                        <a:pt x="1" y="1"/>
                        <a:pt x="0" y="1"/>
                        <a:pt x="0" y="3"/>
                      </a:cubicBezTo>
                      <a:cubicBezTo>
                        <a:pt x="0" y="6"/>
                        <a:pt x="0" y="8"/>
                        <a:pt x="1" y="7"/>
                      </a:cubicBezTo>
                      <a:cubicBezTo>
                        <a:pt x="3" y="7"/>
                        <a:pt x="3" y="5"/>
                        <a:pt x="4" y="3"/>
                      </a:cubicBezTo>
                      <a:cubicBezTo>
                        <a:pt x="4" y="1"/>
                        <a:pt x="4" y="0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7" name="Freeform 99">
                  <a:extLst>
                    <a:ext uri="{FF2B5EF4-FFF2-40B4-BE49-F238E27FC236}">
                      <a16:creationId xmlns:a16="http://schemas.microsoft.com/office/drawing/2014/main" id="{41AD38C7-5DEB-5E14-92AF-FD7D69E291E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471989" y="6184900"/>
                  <a:ext cx="15875" cy="33338"/>
                </a:xfrm>
                <a:custGeom>
                  <a:avLst/>
                  <a:gdLst>
                    <a:gd name="T0" fmla="*/ 2 w 4"/>
                    <a:gd name="T1" fmla="*/ 1 h 8"/>
                    <a:gd name="T2" fmla="*/ 1 w 4"/>
                    <a:gd name="T3" fmla="*/ 4 h 8"/>
                    <a:gd name="T4" fmla="*/ 3 w 4"/>
                    <a:gd name="T5" fmla="*/ 7 h 8"/>
                    <a:gd name="T6" fmla="*/ 2 w 4"/>
                    <a:gd name="T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8">
                      <a:moveTo>
                        <a:pt x="2" y="1"/>
                      </a:moveTo>
                      <a:cubicBezTo>
                        <a:pt x="1" y="0"/>
                        <a:pt x="0" y="1"/>
                        <a:pt x="1" y="4"/>
                      </a:cubicBezTo>
                      <a:cubicBezTo>
                        <a:pt x="1" y="7"/>
                        <a:pt x="1" y="8"/>
                        <a:pt x="3" y="7"/>
                      </a:cubicBezTo>
                      <a:cubicBezTo>
                        <a:pt x="4" y="6"/>
                        <a:pt x="4" y="4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8" name="Freeform 100">
                  <a:extLst>
                    <a:ext uri="{FF2B5EF4-FFF2-40B4-BE49-F238E27FC236}">
                      <a16:creationId xmlns:a16="http://schemas.microsoft.com/office/drawing/2014/main" id="{F3D1C952-51C5-5DED-4F0D-88AE1B978B6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79939" y="6138863"/>
                  <a:ext cx="25400" cy="22225"/>
                </a:xfrm>
                <a:custGeom>
                  <a:avLst/>
                  <a:gdLst>
                    <a:gd name="T0" fmla="*/ 2 w 6"/>
                    <a:gd name="T1" fmla="*/ 1 h 5"/>
                    <a:gd name="T2" fmla="*/ 2 w 6"/>
                    <a:gd name="T3" fmla="*/ 5 h 5"/>
                    <a:gd name="T4" fmla="*/ 5 w 6"/>
                    <a:gd name="T5" fmla="*/ 4 h 5"/>
                    <a:gd name="T6" fmla="*/ 2 w 6"/>
                    <a:gd name="T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2" y="1"/>
                      </a:moveTo>
                      <a:cubicBezTo>
                        <a:pt x="1" y="1"/>
                        <a:pt x="0" y="4"/>
                        <a:pt x="2" y="5"/>
                      </a:cubicBezTo>
                      <a:cubicBezTo>
                        <a:pt x="3" y="5"/>
                        <a:pt x="5" y="5"/>
                        <a:pt x="5" y="4"/>
                      </a:cubicBezTo>
                      <a:cubicBezTo>
                        <a:pt x="6" y="3"/>
                        <a:pt x="4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49" name="Freeform 101">
                  <a:extLst>
                    <a:ext uri="{FF2B5EF4-FFF2-40B4-BE49-F238E27FC236}">
                      <a16:creationId xmlns:a16="http://schemas.microsoft.com/office/drawing/2014/main" id="{B9D1A2C5-1C46-984E-F4A8-03F22EE78C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25976" y="6156325"/>
                  <a:ext cx="12700" cy="15875"/>
                </a:xfrm>
                <a:custGeom>
                  <a:avLst/>
                  <a:gdLst>
                    <a:gd name="T0" fmla="*/ 1 w 3"/>
                    <a:gd name="T1" fmla="*/ 0 h 4"/>
                    <a:gd name="T2" fmla="*/ 1 w 3"/>
                    <a:gd name="T3" fmla="*/ 3 h 4"/>
                    <a:gd name="T4" fmla="*/ 3 w 3"/>
                    <a:gd name="T5" fmla="*/ 2 h 4"/>
                    <a:gd name="T6" fmla="*/ 1 w 3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cubicBezTo>
                        <a:pt x="0" y="0"/>
                        <a:pt x="0" y="2"/>
                        <a:pt x="1" y="3"/>
                      </a:cubicBezTo>
                      <a:cubicBezTo>
                        <a:pt x="3" y="4"/>
                        <a:pt x="3" y="2"/>
                        <a:pt x="3" y="2"/>
                      </a:cubicBezTo>
                      <a:cubicBezTo>
                        <a:pt x="3" y="1"/>
                        <a:pt x="3" y="0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0" name="Freeform 102">
                  <a:extLst>
                    <a:ext uri="{FF2B5EF4-FFF2-40B4-BE49-F238E27FC236}">
                      <a16:creationId xmlns:a16="http://schemas.microsoft.com/office/drawing/2014/main" id="{A7B47355-71C9-FB40-88E6-BE26097C1A6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38676" y="6148388"/>
                  <a:ext cx="12700" cy="15875"/>
                </a:xfrm>
                <a:custGeom>
                  <a:avLst/>
                  <a:gdLst>
                    <a:gd name="T0" fmla="*/ 2 w 3"/>
                    <a:gd name="T1" fmla="*/ 1 h 4"/>
                    <a:gd name="T2" fmla="*/ 2 w 3"/>
                    <a:gd name="T3" fmla="*/ 3 h 4"/>
                    <a:gd name="T4" fmla="*/ 2 w 3"/>
                    <a:gd name="T5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1" y="1"/>
                        <a:pt x="0" y="4"/>
                        <a:pt x="2" y="3"/>
                      </a:cubicBezTo>
                      <a:cubicBezTo>
                        <a:pt x="3" y="3"/>
                        <a:pt x="3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1" name="Freeform 103">
                  <a:extLst>
                    <a:ext uri="{FF2B5EF4-FFF2-40B4-BE49-F238E27FC236}">
                      <a16:creationId xmlns:a16="http://schemas.microsoft.com/office/drawing/2014/main" id="{4A7FDAA9-AA85-ED38-7F39-DFAE44599B1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46614" y="6097588"/>
                  <a:ext cx="17463" cy="25400"/>
                </a:xfrm>
                <a:custGeom>
                  <a:avLst/>
                  <a:gdLst>
                    <a:gd name="T0" fmla="*/ 2 w 4"/>
                    <a:gd name="T1" fmla="*/ 1 h 6"/>
                    <a:gd name="T2" fmla="*/ 0 w 4"/>
                    <a:gd name="T3" fmla="*/ 5 h 6"/>
                    <a:gd name="T4" fmla="*/ 3 w 4"/>
                    <a:gd name="T5" fmla="*/ 5 h 6"/>
                    <a:gd name="T6" fmla="*/ 2 w 4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6">
                      <a:moveTo>
                        <a:pt x="2" y="1"/>
                      </a:moveTo>
                      <a:cubicBezTo>
                        <a:pt x="1" y="0"/>
                        <a:pt x="0" y="3"/>
                        <a:pt x="0" y="5"/>
                      </a:cubicBezTo>
                      <a:cubicBezTo>
                        <a:pt x="1" y="6"/>
                        <a:pt x="2" y="6"/>
                        <a:pt x="3" y="5"/>
                      </a:cubicBezTo>
                      <a:cubicBezTo>
                        <a:pt x="3" y="4"/>
                        <a:pt x="4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2" name="Freeform 104">
                  <a:extLst>
                    <a:ext uri="{FF2B5EF4-FFF2-40B4-BE49-F238E27FC236}">
                      <a16:creationId xmlns:a16="http://schemas.microsoft.com/office/drawing/2014/main" id="{2F593756-1AF6-0DF8-2FD2-2A939487A96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05339" y="6118225"/>
                  <a:ext cx="17463" cy="9525"/>
                </a:xfrm>
                <a:custGeom>
                  <a:avLst/>
                  <a:gdLst>
                    <a:gd name="T0" fmla="*/ 2 w 4"/>
                    <a:gd name="T1" fmla="*/ 0 h 2"/>
                    <a:gd name="T2" fmla="*/ 2 w 4"/>
                    <a:gd name="T3" fmla="*/ 2 h 2"/>
                    <a:gd name="T4" fmla="*/ 2 w 4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2" y="0"/>
                      </a:moveTo>
                      <a:cubicBezTo>
                        <a:pt x="1" y="0"/>
                        <a:pt x="0" y="1"/>
                        <a:pt x="2" y="2"/>
                      </a:cubicBezTo>
                      <a:cubicBezTo>
                        <a:pt x="3" y="2"/>
                        <a:pt x="4" y="0"/>
                        <a:pt x="2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3" name="Freeform 105">
                  <a:extLst>
                    <a:ext uri="{FF2B5EF4-FFF2-40B4-BE49-F238E27FC236}">
                      <a16:creationId xmlns:a16="http://schemas.microsoft.com/office/drawing/2014/main" id="{08C694E5-4874-4D44-8EE0-EB3A3BF086A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89464" y="6094413"/>
                  <a:ext cx="11113" cy="15875"/>
                </a:xfrm>
                <a:custGeom>
                  <a:avLst/>
                  <a:gdLst>
                    <a:gd name="T0" fmla="*/ 1 w 3"/>
                    <a:gd name="T1" fmla="*/ 0 h 4"/>
                    <a:gd name="T2" fmla="*/ 2 w 3"/>
                    <a:gd name="T3" fmla="*/ 3 h 4"/>
                    <a:gd name="T4" fmla="*/ 1 w 3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cubicBezTo>
                        <a:pt x="0" y="0"/>
                        <a:pt x="1" y="2"/>
                        <a:pt x="2" y="3"/>
                      </a:cubicBezTo>
                      <a:cubicBezTo>
                        <a:pt x="3" y="4"/>
                        <a:pt x="3" y="1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4" name="Freeform 106">
                  <a:extLst>
                    <a:ext uri="{FF2B5EF4-FFF2-40B4-BE49-F238E27FC236}">
                      <a16:creationId xmlns:a16="http://schemas.microsoft.com/office/drawing/2014/main" id="{711A1B9D-1D1C-D3BC-3BAF-606973CF5A0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84701" y="6059488"/>
                  <a:ext cx="12700" cy="17463"/>
                </a:xfrm>
                <a:custGeom>
                  <a:avLst/>
                  <a:gdLst>
                    <a:gd name="T0" fmla="*/ 1 w 3"/>
                    <a:gd name="T1" fmla="*/ 0 h 4"/>
                    <a:gd name="T2" fmla="*/ 1 w 3"/>
                    <a:gd name="T3" fmla="*/ 3 h 4"/>
                    <a:gd name="T4" fmla="*/ 1 w 3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4">
                      <a:moveTo>
                        <a:pt x="1" y="0"/>
                      </a:moveTo>
                      <a:cubicBezTo>
                        <a:pt x="0" y="0"/>
                        <a:pt x="0" y="2"/>
                        <a:pt x="1" y="3"/>
                      </a:cubicBezTo>
                      <a:cubicBezTo>
                        <a:pt x="2" y="4"/>
                        <a:pt x="3" y="1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5" name="Freeform 107">
                  <a:extLst>
                    <a:ext uri="{FF2B5EF4-FFF2-40B4-BE49-F238E27FC236}">
                      <a16:creationId xmlns:a16="http://schemas.microsoft.com/office/drawing/2014/main" id="{D1252BC8-451D-BBF3-58E7-A5045718077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76764" y="6035675"/>
                  <a:ext cx="12700" cy="28575"/>
                </a:xfrm>
                <a:custGeom>
                  <a:avLst/>
                  <a:gdLst>
                    <a:gd name="T0" fmla="*/ 2 w 3"/>
                    <a:gd name="T1" fmla="*/ 1 h 7"/>
                    <a:gd name="T2" fmla="*/ 0 w 3"/>
                    <a:gd name="T3" fmla="*/ 5 h 7"/>
                    <a:gd name="T4" fmla="*/ 2 w 3"/>
                    <a:gd name="T5" fmla="*/ 4 h 7"/>
                    <a:gd name="T6" fmla="*/ 2 w 3"/>
                    <a:gd name="T7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7">
                      <a:moveTo>
                        <a:pt x="2" y="1"/>
                      </a:moveTo>
                      <a:cubicBezTo>
                        <a:pt x="1" y="1"/>
                        <a:pt x="0" y="4"/>
                        <a:pt x="0" y="5"/>
                      </a:cubicBezTo>
                      <a:cubicBezTo>
                        <a:pt x="0" y="7"/>
                        <a:pt x="2" y="6"/>
                        <a:pt x="2" y="4"/>
                      </a:cubicBezTo>
                      <a:cubicBezTo>
                        <a:pt x="3" y="1"/>
                        <a:pt x="3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6" name="Freeform 108">
                  <a:extLst>
                    <a:ext uri="{FF2B5EF4-FFF2-40B4-BE49-F238E27FC236}">
                      <a16:creationId xmlns:a16="http://schemas.microsoft.com/office/drawing/2014/main" id="{504716BC-EE2B-48CF-CED1-8002B68EA4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505326" y="6026150"/>
                  <a:ext cx="15875" cy="22225"/>
                </a:xfrm>
                <a:custGeom>
                  <a:avLst/>
                  <a:gdLst>
                    <a:gd name="T0" fmla="*/ 2 w 4"/>
                    <a:gd name="T1" fmla="*/ 1 h 5"/>
                    <a:gd name="T2" fmla="*/ 1 w 4"/>
                    <a:gd name="T3" fmla="*/ 4 h 5"/>
                    <a:gd name="T4" fmla="*/ 2 w 4"/>
                    <a:gd name="T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5">
                      <a:moveTo>
                        <a:pt x="2" y="1"/>
                      </a:moveTo>
                      <a:cubicBezTo>
                        <a:pt x="1" y="0"/>
                        <a:pt x="0" y="4"/>
                        <a:pt x="1" y="4"/>
                      </a:cubicBezTo>
                      <a:cubicBezTo>
                        <a:pt x="2" y="5"/>
                        <a:pt x="4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7" name="Freeform 109">
                  <a:extLst>
                    <a:ext uri="{FF2B5EF4-FFF2-40B4-BE49-F238E27FC236}">
                      <a16:creationId xmlns:a16="http://schemas.microsoft.com/office/drawing/2014/main" id="{F66B8285-59D7-B559-AC2A-F0A322FFEF6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00526" y="5792788"/>
                  <a:ext cx="41275" cy="58738"/>
                </a:xfrm>
                <a:custGeom>
                  <a:avLst/>
                  <a:gdLst>
                    <a:gd name="T0" fmla="*/ 5 w 10"/>
                    <a:gd name="T1" fmla="*/ 8 h 14"/>
                    <a:gd name="T2" fmla="*/ 5 w 10"/>
                    <a:gd name="T3" fmla="*/ 2 h 14"/>
                    <a:gd name="T4" fmla="*/ 2 w 10"/>
                    <a:gd name="T5" fmla="*/ 2 h 14"/>
                    <a:gd name="T6" fmla="*/ 2 w 10"/>
                    <a:gd name="T7" fmla="*/ 5 h 14"/>
                    <a:gd name="T8" fmla="*/ 7 w 10"/>
                    <a:gd name="T9" fmla="*/ 12 h 14"/>
                    <a:gd name="T10" fmla="*/ 10 w 10"/>
                    <a:gd name="T11" fmla="*/ 12 h 14"/>
                    <a:gd name="T12" fmla="*/ 5 w 10"/>
                    <a:gd name="T13" fmla="*/ 8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14">
                      <a:moveTo>
                        <a:pt x="5" y="8"/>
                      </a:moveTo>
                      <a:cubicBezTo>
                        <a:pt x="5" y="6"/>
                        <a:pt x="6" y="5"/>
                        <a:pt x="5" y="2"/>
                      </a:cubicBezTo>
                      <a:cubicBezTo>
                        <a:pt x="4" y="0"/>
                        <a:pt x="2" y="2"/>
                        <a:pt x="2" y="2"/>
                      </a:cubicBezTo>
                      <a:cubicBezTo>
                        <a:pt x="1" y="2"/>
                        <a:pt x="0" y="3"/>
                        <a:pt x="2" y="5"/>
                      </a:cubicBezTo>
                      <a:cubicBezTo>
                        <a:pt x="3" y="7"/>
                        <a:pt x="5" y="11"/>
                        <a:pt x="7" y="12"/>
                      </a:cubicBezTo>
                      <a:cubicBezTo>
                        <a:pt x="9" y="13"/>
                        <a:pt x="10" y="14"/>
                        <a:pt x="10" y="12"/>
                      </a:cubicBezTo>
                      <a:cubicBezTo>
                        <a:pt x="9" y="11"/>
                        <a:pt x="6" y="11"/>
                        <a:pt x="5" y="8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8" name="Freeform 110">
                  <a:extLst>
                    <a:ext uri="{FF2B5EF4-FFF2-40B4-BE49-F238E27FC236}">
                      <a16:creationId xmlns:a16="http://schemas.microsoft.com/office/drawing/2014/main" id="{F681C069-27B6-1A8C-A094-D07FEDF3414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59264" y="5948363"/>
                  <a:ext cx="41275" cy="53975"/>
                </a:xfrm>
                <a:custGeom>
                  <a:avLst/>
                  <a:gdLst>
                    <a:gd name="T0" fmla="*/ 7 w 10"/>
                    <a:gd name="T1" fmla="*/ 6 h 13"/>
                    <a:gd name="T2" fmla="*/ 7 w 10"/>
                    <a:gd name="T3" fmla="*/ 3 h 13"/>
                    <a:gd name="T4" fmla="*/ 9 w 10"/>
                    <a:gd name="T5" fmla="*/ 4 h 13"/>
                    <a:gd name="T6" fmla="*/ 6 w 10"/>
                    <a:gd name="T7" fmla="*/ 0 h 13"/>
                    <a:gd name="T8" fmla="*/ 4 w 10"/>
                    <a:gd name="T9" fmla="*/ 3 h 13"/>
                    <a:gd name="T10" fmla="*/ 2 w 10"/>
                    <a:gd name="T11" fmla="*/ 5 h 13"/>
                    <a:gd name="T12" fmla="*/ 1 w 10"/>
                    <a:gd name="T13" fmla="*/ 7 h 13"/>
                    <a:gd name="T14" fmla="*/ 3 w 10"/>
                    <a:gd name="T15" fmla="*/ 9 h 13"/>
                    <a:gd name="T16" fmla="*/ 7 w 10"/>
                    <a:gd name="T17" fmla="*/ 11 h 13"/>
                    <a:gd name="T18" fmla="*/ 10 w 10"/>
                    <a:gd name="T19" fmla="*/ 11 h 13"/>
                    <a:gd name="T20" fmla="*/ 7 w 10"/>
                    <a:gd name="T21" fmla="*/ 6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13">
                      <a:moveTo>
                        <a:pt x="7" y="6"/>
                      </a:moveTo>
                      <a:cubicBezTo>
                        <a:pt x="6" y="5"/>
                        <a:pt x="6" y="2"/>
                        <a:pt x="7" y="3"/>
                      </a:cubicBezTo>
                      <a:cubicBezTo>
                        <a:pt x="7" y="4"/>
                        <a:pt x="8" y="6"/>
                        <a:pt x="9" y="4"/>
                      </a:cubicBezTo>
                      <a:cubicBezTo>
                        <a:pt x="9" y="2"/>
                        <a:pt x="7" y="1"/>
                        <a:pt x="6" y="0"/>
                      </a:cubicBezTo>
                      <a:cubicBezTo>
                        <a:pt x="5" y="0"/>
                        <a:pt x="4" y="1"/>
                        <a:pt x="4" y="3"/>
                      </a:cubicBezTo>
                      <a:cubicBezTo>
                        <a:pt x="4" y="4"/>
                        <a:pt x="4" y="5"/>
                        <a:pt x="2" y="5"/>
                      </a:cubicBezTo>
                      <a:cubicBezTo>
                        <a:pt x="1" y="4"/>
                        <a:pt x="0" y="5"/>
                        <a:pt x="1" y="7"/>
                      </a:cubicBezTo>
                      <a:cubicBezTo>
                        <a:pt x="1" y="9"/>
                        <a:pt x="1" y="10"/>
                        <a:pt x="3" y="9"/>
                      </a:cubicBezTo>
                      <a:cubicBezTo>
                        <a:pt x="5" y="9"/>
                        <a:pt x="6" y="10"/>
                        <a:pt x="7" y="11"/>
                      </a:cubicBezTo>
                      <a:cubicBezTo>
                        <a:pt x="9" y="12"/>
                        <a:pt x="10" y="13"/>
                        <a:pt x="10" y="11"/>
                      </a:cubicBezTo>
                      <a:cubicBezTo>
                        <a:pt x="10" y="9"/>
                        <a:pt x="9" y="8"/>
                        <a:pt x="7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59" name="Freeform 111">
                  <a:extLst>
                    <a:ext uri="{FF2B5EF4-FFF2-40B4-BE49-F238E27FC236}">
                      <a16:creationId xmlns:a16="http://schemas.microsoft.com/office/drawing/2014/main" id="{35AEB526-CDD0-0077-7C0A-27709718432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284664" y="6010275"/>
                  <a:ext cx="33338" cy="41275"/>
                </a:xfrm>
                <a:custGeom>
                  <a:avLst/>
                  <a:gdLst>
                    <a:gd name="T0" fmla="*/ 3 w 8"/>
                    <a:gd name="T1" fmla="*/ 2 h 10"/>
                    <a:gd name="T2" fmla="*/ 0 w 8"/>
                    <a:gd name="T3" fmla="*/ 4 h 10"/>
                    <a:gd name="T4" fmla="*/ 5 w 8"/>
                    <a:gd name="T5" fmla="*/ 9 h 10"/>
                    <a:gd name="T6" fmla="*/ 7 w 8"/>
                    <a:gd name="T7" fmla="*/ 5 h 10"/>
                    <a:gd name="T8" fmla="*/ 3 w 8"/>
                    <a:gd name="T9" fmla="*/ 2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10">
                      <a:moveTo>
                        <a:pt x="3" y="2"/>
                      </a:moveTo>
                      <a:cubicBezTo>
                        <a:pt x="1" y="1"/>
                        <a:pt x="0" y="0"/>
                        <a:pt x="0" y="4"/>
                      </a:cubicBezTo>
                      <a:cubicBezTo>
                        <a:pt x="1" y="8"/>
                        <a:pt x="3" y="10"/>
                        <a:pt x="5" y="9"/>
                      </a:cubicBezTo>
                      <a:cubicBezTo>
                        <a:pt x="7" y="7"/>
                        <a:pt x="8" y="6"/>
                        <a:pt x="7" y="5"/>
                      </a:cubicBezTo>
                      <a:cubicBezTo>
                        <a:pt x="7" y="4"/>
                        <a:pt x="5" y="4"/>
                        <a:pt x="3" y="2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07" name="Freeform 115">
                <a:extLst>
                  <a:ext uri="{FF2B5EF4-FFF2-40B4-BE49-F238E27FC236}">
                    <a16:creationId xmlns:a16="http://schemas.microsoft.com/office/drawing/2014/main" id="{8C65A6F4-0D55-F7FD-0F68-4FB31F4685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22076" y="473918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8" name="Freeform 116">
                <a:extLst>
                  <a:ext uri="{FF2B5EF4-FFF2-40B4-BE49-F238E27FC236}">
                    <a16:creationId xmlns:a16="http://schemas.microsoft.com/office/drawing/2014/main" id="{00586EF4-044F-A079-0D38-A3EB9A9B53A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25814" y="503493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09" name="Freeform 118">
                <a:extLst>
                  <a:ext uri="{FF2B5EF4-FFF2-40B4-BE49-F238E27FC236}">
                    <a16:creationId xmlns:a16="http://schemas.microsoft.com/office/drawing/2014/main" id="{2A6692F5-E5DF-E84B-F15C-E5CBFA1ACBE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90283" y="5440063"/>
                <a:ext cx="266490" cy="574571"/>
              </a:xfrm>
              <a:custGeom>
                <a:avLst/>
                <a:gdLst>
                  <a:gd name="T0" fmla="*/ 33 w 66"/>
                  <a:gd name="T1" fmla="*/ 138 h 142"/>
                  <a:gd name="T2" fmla="*/ 26 w 66"/>
                  <a:gd name="T3" fmla="*/ 141 h 142"/>
                  <a:gd name="T4" fmla="*/ 17 w 66"/>
                  <a:gd name="T5" fmla="*/ 138 h 142"/>
                  <a:gd name="T6" fmla="*/ 11 w 66"/>
                  <a:gd name="T7" fmla="*/ 139 h 142"/>
                  <a:gd name="T8" fmla="*/ 8 w 66"/>
                  <a:gd name="T9" fmla="*/ 136 h 142"/>
                  <a:gd name="T10" fmla="*/ 11 w 66"/>
                  <a:gd name="T11" fmla="*/ 124 h 142"/>
                  <a:gd name="T12" fmla="*/ 10 w 66"/>
                  <a:gd name="T13" fmla="*/ 114 h 142"/>
                  <a:gd name="T14" fmla="*/ 12 w 66"/>
                  <a:gd name="T15" fmla="*/ 103 h 142"/>
                  <a:gd name="T16" fmla="*/ 11 w 66"/>
                  <a:gd name="T17" fmla="*/ 102 h 142"/>
                  <a:gd name="T18" fmla="*/ 7 w 66"/>
                  <a:gd name="T19" fmla="*/ 102 h 142"/>
                  <a:gd name="T20" fmla="*/ 5 w 66"/>
                  <a:gd name="T21" fmla="*/ 98 h 142"/>
                  <a:gd name="T22" fmla="*/ 10 w 66"/>
                  <a:gd name="T23" fmla="*/ 90 h 142"/>
                  <a:gd name="T24" fmla="*/ 3 w 66"/>
                  <a:gd name="T25" fmla="*/ 95 h 142"/>
                  <a:gd name="T26" fmla="*/ 1 w 66"/>
                  <a:gd name="T27" fmla="*/ 87 h 142"/>
                  <a:gd name="T28" fmla="*/ 4 w 66"/>
                  <a:gd name="T29" fmla="*/ 77 h 142"/>
                  <a:gd name="T30" fmla="*/ 8 w 66"/>
                  <a:gd name="T31" fmla="*/ 71 h 142"/>
                  <a:gd name="T32" fmla="*/ 15 w 66"/>
                  <a:gd name="T33" fmla="*/ 53 h 142"/>
                  <a:gd name="T34" fmla="*/ 18 w 66"/>
                  <a:gd name="T35" fmla="*/ 41 h 142"/>
                  <a:gd name="T36" fmla="*/ 20 w 66"/>
                  <a:gd name="T37" fmla="*/ 30 h 142"/>
                  <a:gd name="T38" fmla="*/ 17 w 66"/>
                  <a:gd name="T39" fmla="*/ 13 h 142"/>
                  <a:gd name="T40" fmla="*/ 21 w 66"/>
                  <a:gd name="T41" fmla="*/ 4 h 142"/>
                  <a:gd name="T42" fmla="*/ 30 w 66"/>
                  <a:gd name="T43" fmla="*/ 2 h 142"/>
                  <a:gd name="T44" fmla="*/ 31 w 66"/>
                  <a:gd name="T45" fmla="*/ 6 h 142"/>
                  <a:gd name="T46" fmla="*/ 38 w 66"/>
                  <a:gd name="T47" fmla="*/ 8 h 142"/>
                  <a:gd name="T48" fmla="*/ 46 w 66"/>
                  <a:gd name="T49" fmla="*/ 9 h 142"/>
                  <a:gd name="T50" fmla="*/ 53 w 66"/>
                  <a:gd name="T51" fmla="*/ 6 h 142"/>
                  <a:gd name="T52" fmla="*/ 60 w 66"/>
                  <a:gd name="T53" fmla="*/ 11 h 142"/>
                  <a:gd name="T54" fmla="*/ 65 w 66"/>
                  <a:gd name="T55" fmla="*/ 18 h 142"/>
                  <a:gd name="T56" fmla="*/ 55 w 66"/>
                  <a:gd name="T57" fmla="*/ 28 h 142"/>
                  <a:gd name="T58" fmla="*/ 53 w 66"/>
                  <a:gd name="T59" fmla="*/ 47 h 142"/>
                  <a:gd name="T60" fmla="*/ 51 w 66"/>
                  <a:gd name="T61" fmla="*/ 59 h 142"/>
                  <a:gd name="T62" fmla="*/ 44 w 66"/>
                  <a:gd name="T63" fmla="*/ 69 h 142"/>
                  <a:gd name="T64" fmla="*/ 42 w 66"/>
                  <a:gd name="T65" fmla="*/ 73 h 142"/>
                  <a:gd name="T66" fmla="*/ 46 w 66"/>
                  <a:gd name="T67" fmla="*/ 83 h 142"/>
                  <a:gd name="T68" fmla="*/ 42 w 66"/>
                  <a:gd name="T69" fmla="*/ 94 h 142"/>
                  <a:gd name="T70" fmla="*/ 45 w 66"/>
                  <a:gd name="T71" fmla="*/ 108 h 142"/>
                  <a:gd name="T72" fmla="*/ 42 w 66"/>
                  <a:gd name="T73" fmla="*/ 113 h 142"/>
                  <a:gd name="T74" fmla="*/ 35 w 66"/>
                  <a:gd name="T75" fmla="*/ 127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66" h="142">
                    <a:moveTo>
                      <a:pt x="37" y="136"/>
                    </a:moveTo>
                    <a:cubicBezTo>
                      <a:pt x="37" y="136"/>
                      <a:pt x="34" y="137"/>
                      <a:pt x="33" y="138"/>
                    </a:cubicBezTo>
                    <a:cubicBezTo>
                      <a:pt x="31" y="139"/>
                      <a:pt x="30" y="140"/>
                      <a:pt x="29" y="140"/>
                    </a:cubicBezTo>
                    <a:cubicBezTo>
                      <a:pt x="27" y="141"/>
                      <a:pt x="27" y="142"/>
                      <a:pt x="26" y="141"/>
                    </a:cubicBezTo>
                    <a:cubicBezTo>
                      <a:pt x="25" y="140"/>
                      <a:pt x="23" y="139"/>
                      <a:pt x="21" y="139"/>
                    </a:cubicBezTo>
                    <a:cubicBezTo>
                      <a:pt x="20" y="139"/>
                      <a:pt x="18" y="139"/>
                      <a:pt x="17" y="138"/>
                    </a:cubicBezTo>
                    <a:cubicBezTo>
                      <a:pt x="16" y="138"/>
                      <a:pt x="16" y="137"/>
                      <a:pt x="15" y="137"/>
                    </a:cubicBezTo>
                    <a:cubicBezTo>
                      <a:pt x="15" y="137"/>
                      <a:pt x="12" y="138"/>
                      <a:pt x="11" y="139"/>
                    </a:cubicBezTo>
                    <a:cubicBezTo>
                      <a:pt x="9" y="140"/>
                      <a:pt x="9" y="141"/>
                      <a:pt x="8" y="140"/>
                    </a:cubicBezTo>
                    <a:cubicBezTo>
                      <a:pt x="7" y="140"/>
                      <a:pt x="7" y="138"/>
                      <a:pt x="8" y="136"/>
                    </a:cubicBezTo>
                    <a:cubicBezTo>
                      <a:pt x="9" y="135"/>
                      <a:pt x="10" y="132"/>
                      <a:pt x="10" y="130"/>
                    </a:cubicBezTo>
                    <a:cubicBezTo>
                      <a:pt x="11" y="128"/>
                      <a:pt x="11" y="126"/>
                      <a:pt x="11" y="124"/>
                    </a:cubicBezTo>
                    <a:cubicBezTo>
                      <a:pt x="11" y="122"/>
                      <a:pt x="12" y="120"/>
                      <a:pt x="12" y="120"/>
                    </a:cubicBezTo>
                    <a:cubicBezTo>
                      <a:pt x="12" y="119"/>
                      <a:pt x="10" y="116"/>
                      <a:pt x="10" y="114"/>
                    </a:cubicBezTo>
                    <a:cubicBezTo>
                      <a:pt x="10" y="113"/>
                      <a:pt x="13" y="110"/>
                      <a:pt x="13" y="109"/>
                    </a:cubicBezTo>
                    <a:cubicBezTo>
                      <a:pt x="13" y="107"/>
                      <a:pt x="12" y="104"/>
                      <a:pt x="12" y="103"/>
                    </a:cubicBezTo>
                    <a:cubicBezTo>
                      <a:pt x="13" y="102"/>
                      <a:pt x="15" y="98"/>
                      <a:pt x="14" y="99"/>
                    </a:cubicBezTo>
                    <a:cubicBezTo>
                      <a:pt x="13" y="99"/>
                      <a:pt x="12" y="102"/>
                      <a:pt x="11" y="102"/>
                    </a:cubicBezTo>
                    <a:cubicBezTo>
                      <a:pt x="11" y="102"/>
                      <a:pt x="10" y="99"/>
                      <a:pt x="10" y="99"/>
                    </a:cubicBezTo>
                    <a:cubicBezTo>
                      <a:pt x="10" y="99"/>
                      <a:pt x="8" y="102"/>
                      <a:pt x="7" y="102"/>
                    </a:cubicBezTo>
                    <a:cubicBezTo>
                      <a:pt x="7" y="102"/>
                      <a:pt x="5" y="104"/>
                      <a:pt x="5" y="103"/>
                    </a:cubicBezTo>
                    <a:cubicBezTo>
                      <a:pt x="5" y="101"/>
                      <a:pt x="4" y="99"/>
                      <a:pt x="5" y="98"/>
                    </a:cubicBezTo>
                    <a:cubicBezTo>
                      <a:pt x="5" y="98"/>
                      <a:pt x="9" y="95"/>
                      <a:pt x="9" y="94"/>
                    </a:cubicBezTo>
                    <a:cubicBezTo>
                      <a:pt x="10" y="93"/>
                      <a:pt x="10" y="90"/>
                      <a:pt x="10" y="90"/>
                    </a:cubicBezTo>
                    <a:cubicBezTo>
                      <a:pt x="10" y="89"/>
                      <a:pt x="11" y="87"/>
                      <a:pt x="9" y="88"/>
                    </a:cubicBezTo>
                    <a:cubicBezTo>
                      <a:pt x="8" y="90"/>
                      <a:pt x="5" y="95"/>
                      <a:pt x="3" y="95"/>
                    </a:cubicBezTo>
                    <a:cubicBezTo>
                      <a:pt x="1" y="95"/>
                      <a:pt x="0" y="93"/>
                      <a:pt x="0" y="92"/>
                    </a:cubicBezTo>
                    <a:cubicBezTo>
                      <a:pt x="0" y="90"/>
                      <a:pt x="1" y="90"/>
                      <a:pt x="1" y="87"/>
                    </a:cubicBezTo>
                    <a:cubicBezTo>
                      <a:pt x="1" y="85"/>
                      <a:pt x="1" y="84"/>
                      <a:pt x="2" y="83"/>
                    </a:cubicBezTo>
                    <a:cubicBezTo>
                      <a:pt x="2" y="81"/>
                      <a:pt x="4" y="79"/>
                      <a:pt x="4" y="77"/>
                    </a:cubicBezTo>
                    <a:cubicBezTo>
                      <a:pt x="4" y="75"/>
                      <a:pt x="3" y="76"/>
                      <a:pt x="5" y="74"/>
                    </a:cubicBezTo>
                    <a:cubicBezTo>
                      <a:pt x="7" y="73"/>
                      <a:pt x="8" y="72"/>
                      <a:pt x="8" y="71"/>
                    </a:cubicBezTo>
                    <a:cubicBezTo>
                      <a:pt x="9" y="69"/>
                      <a:pt x="10" y="64"/>
                      <a:pt x="12" y="62"/>
                    </a:cubicBezTo>
                    <a:cubicBezTo>
                      <a:pt x="13" y="60"/>
                      <a:pt x="14" y="56"/>
                      <a:pt x="15" y="53"/>
                    </a:cubicBezTo>
                    <a:cubicBezTo>
                      <a:pt x="15" y="50"/>
                      <a:pt x="17" y="46"/>
                      <a:pt x="17" y="45"/>
                    </a:cubicBezTo>
                    <a:cubicBezTo>
                      <a:pt x="17" y="45"/>
                      <a:pt x="17" y="42"/>
                      <a:pt x="18" y="41"/>
                    </a:cubicBezTo>
                    <a:cubicBezTo>
                      <a:pt x="19" y="39"/>
                      <a:pt x="18" y="36"/>
                      <a:pt x="18" y="35"/>
                    </a:cubicBezTo>
                    <a:cubicBezTo>
                      <a:pt x="19" y="34"/>
                      <a:pt x="20" y="31"/>
                      <a:pt x="20" y="30"/>
                    </a:cubicBezTo>
                    <a:cubicBezTo>
                      <a:pt x="20" y="28"/>
                      <a:pt x="19" y="27"/>
                      <a:pt x="19" y="24"/>
                    </a:cubicBezTo>
                    <a:cubicBezTo>
                      <a:pt x="18" y="22"/>
                      <a:pt x="17" y="15"/>
                      <a:pt x="17" y="13"/>
                    </a:cubicBezTo>
                    <a:cubicBezTo>
                      <a:pt x="17" y="10"/>
                      <a:pt x="18" y="7"/>
                      <a:pt x="18" y="7"/>
                    </a:cubicBezTo>
                    <a:cubicBezTo>
                      <a:pt x="18" y="7"/>
                      <a:pt x="19" y="5"/>
                      <a:pt x="21" y="4"/>
                    </a:cubicBezTo>
                    <a:cubicBezTo>
                      <a:pt x="23" y="2"/>
                      <a:pt x="25" y="3"/>
                      <a:pt x="28" y="3"/>
                    </a:cubicBezTo>
                    <a:cubicBezTo>
                      <a:pt x="30" y="2"/>
                      <a:pt x="31" y="0"/>
                      <a:pt x="30" y="2"/>
                    </a:cubicBezTo>
                    <a:cubicBezTo>
                      <a:pt x="30" y="3"/>
                      <a:pt x="30" y="3"/>
                      <a:pt x="31" y="3"/>
                    </a:cubicBezTo>
                    <a:cubicBezTo>
                      <a:pt x="32" y="3"/>
                      <a:pt x="32" y="4"/>
                      <a:pt x="31" y="6"/>
                    </a:cubicBezTo>
                    <a:cubicBezTo>
                      <a:pt x="29" y="8"/>
                      <a:pt x="29" y="10"/>
                      <a:pt x="31" y="9"/>
                    </a:cubicBezTo>
                    <a:cubicBezTo>
                      <a:pt x="33" y="9"/>
                      <a:pt x="36" y="8"/>
                      <a:pt x="38" y="8"/>
                    </a:cubicBezTo>
                    <a:cubicBezTo>
                      <a:pt x="40" y="8"/>
                      <a:pt x="41" y="8"/>
                      <a:pt x="42" y="9"/>
                    </a:cubicBezTo>
                    <a:cubicBezTo>
                      <a:pt x="43" y="10"/>
                      <a:pt x="45" y="9"/>
                      <a:pt x="46" y="9"/>
                    </a:cubicBezTo>
                    <a:cubicBezTo>
                      <a:pt x="47" y="9"/>
                      <a:pt x="48" y="7"/>
                      <a:pt x="49" y="6"/>
                    </a:cubicBezTo>
                    <a:cubicBezTo>
                      <a:pt x="50" y="5"/>
                      <a:pt x="52" y="6"/>
                      <a:pt x="53" y="6"/>
                    </a:cubicBezTo>
                    <a:cubicBezTo>
                      <a:pt x="55" y="6"/>
                      <a:pt x="57" y="7"/>
                      <a:pt x="59" y="7"/>
                    </a:cubicBezTo>
                    <a:cubicBezTo>
                      <a:pt x="60" y="7"/>
                      <a:pt x="61" y="9"/>
                      <a:pt x="60" y="11"/>
                    </a:cubicBezTo>
                    <a:cubicBezTo>
                      <a:pt x="59" y="13"/>
                      <a:pt x="61" y="13"/>
                      <a:pt x="63" y="14"/>
                    </a:cubicBezTo>
                    <a:cubicBezTo>
                      <a:pt x="65" y="15"/>
                      <a:pt x="66" y="17"/>
                      <a:pt x="65" y="18"/>
                    </a:cubicBezTo>
                    <a:cubicBezTo>
                      <a:pt x="65" y="19"/>
                      <a:pt x="63" y="22"/>
                      <a:pt x="61" y="23"/>
                    </a:cubicBezTo>
                    <a:cubicBezTo>
                      <a:pt x="59" y="24"/>
                      <a:pt x="57" y="26"/>
                      <a:pt x="55" y="28"/>
                    </a:cubicBezTo>
                    <a:cubicBezTo>
                      <a:pt x="53" y="31"/>
                      <a:pt x="54" y="31"/>
                      <a:pt x="54" y="33"/>
                    </a:cubicBezTo>
                    <a:cubicBezTo>
                      <a:pt x="54" y="36"/>
                      <a:pt x="53" y="43"/>
                      <a:pt x="53" y="47"/>
                    </a:cubicBezTo>
                    <a:cubicBezTo>
                      <a:pt x="53" y="51"/>
                      <a:pt x="52" y="50"/>
                      <a:pt x="50" y="52"/>
                    </a:cubicBezTo>
                    <a:cubicBezTo>
                      <a:pt x="48" y="54"/>
                      <a:pt x="50" y="57"/>
                      <a:pt x="51" y="59"/>
                    </a:cubicBezTo>
                    <a:cubicBezTo>
                      <a:pt x="52" y="61"/>
                      <a:pt x="50" y="63"/>
                      <a:pt x="50" y="65"/>
                    </a:cubicBezTo>
                    <a:cubicBezTo>
                      <a:pt x="50" y="67"/>
                      <a:pt x="47" y="69"/>
                      <a:pt x="44" y="69"/>
                    </a:cubicBezTo>
                    <a:cubicBezTo>
                      <a:pt x="41" y="69"/>
                      <a:pt x="38" y="68"/>
                      <a:pt x="39" y="70"/>
                    </a:cubicBezTo>
                    <a:cubicBezTo>
                      <a:pt x="40" y="71"/>
                      <a:pt x="41" y="72"/>
                      <a:pt x="42" y="73"/>
                    </a:cubicBezTo>
                    <a:cubicBezTo>
                      <a:pt x="42" y="75"/>
                      <a:pt x="42" y="77"/>
                      <a:pt x="43" y="79"/>
                    </a:cubicBezTo>
                    <a:cubicBezTo>
                      <a:pt x="43" y="82"/>
                      <a:pt x="44" y="82"/>
                      <a:pt x="46" y="83"/>
                    </a:cubicBezTo>
                    <a:cubicBezTo>
                      <a:pt x="48" y="84"/>
                      <a:pt x="48" y="85"/>
                      <a:pt x="47" y="88"/>
                    </a:cubicBezTo>
                    <a:cubicBezTo>
                      <a:pt x="46" y="90"/>
                      <a:pt x="44" y="92"/>
                      <a:pt x="42" y="94"/>
                    </a:cubicBezTo>
                    <a:cubicBezTo>
                      <a:pt x="40" y="96"/>
                      <a:pt x="40" y="101"/>
                      <a:pt x="41" y="102"/>
                    </a:cubicBezTo>
                    <a:cubicBezTo>
                      <a:pt x="42" y="104"/>
                      <a:pt x="44" y="107"/>
                      <a:pt x="45" y="108"/>
                    </a:cubicBezTo>
                    <a:cubicBezTo>
                      <a:pt x="47" y="108"/>
                      <a:pt x="46" y="108"/>
                      <a:pt x="46" y="110"/>
                    </a:cubicBezTo>
                    <a:cubicBezTo>
                      <a:pt x="46" y="112"/>
                      <a:pt x="44" y="111"/>
                      <a:pt x="42" y="113"/>
                    </a:cubicBezTo>
                    <a:cubicBezTo>
                      <a:pt x="41" y="115"/>
                      <a:pt x="38" y="119"/>
                      <a:pt x="37" y="121"/>
                    </a:cubicBezTo>
                    <a:cubicBezTo>
                      <a:pt x="35" y="123"/>
                      <a:pt x="35" y="126"/>
                      <a:pt x="35" y="127"/>
                    </a:cubicBezTo>
                    <a:cubicBezTo>
                      <a:pt x="36" y="128"/>
                      <a:pt x="36" y="135"/>
                      <a:pt x="37" y="136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10" name="Gruppieren 295">
                <a:extLst>
                  <a:ext uri="{FF2B5EF4-FFF2-40B4-BE49-F238E27FC236}">
                    <a16:creationId xmlns:a16="http://schemas.microsoft.com/office/drawing/2014/main" id="{C7866ACB-777E-C932-EF88-349A4DC88458}"/>
                  </a:ext>
                </a:extLst>
              </p:cNvPr>
              <p:cNvGrpSpPr/>
              <p:nvPr/>
            </p:nvGrpSpPr>
            <p:grpSpPr bwMode="gray">
              <a:xfrm>
                <a:off x="2038036" y="5265998"/>
                <a:ext cx="1012046" cy="853384"/>
                <a:chOff x="1960564" y="5351463"/>
                <a:chExt cx="1042988" cy="879475"/>
              </a:xfrm>
              <a:grpFill/>
            </p:grpSpPr>
            <p:sp>
              <p:nvSpPr>
                <p:cNvPr id="617" name="Freeform 117">
                  <a:extLst>
                    <a:ext uri="{FF2B5EF4-FFF2-40B4-BE49-F238E27FC236}">
                      <a16:creationId xmlns:a16="http://schemas.microsoft.com/office/drawing/2014/main" id="{0AD3C70E-4A15-6EF1-1323-56DAAEFDD47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960564" y="5351463"/>
                  <a:ext cx="968375" cy="879475"/>
                </a:xfrm>
                <a:custGeom>
                  <a:avLst/>
                  <a:gdLst>
                    <a:gd name="T0" fmla="*/ 231 w 232"/>
                    <a:gd name="T1" fmla="*/ 40 h 211"/>
                    <a:gd name="T2" fmla="*/ 223 w 232"/>
                    <a:gd name="T3" fmla="*/ 57 h 211"/>
                    <a:gd name="T4" fmla="*/ 204 w 232"/>
                    <a:gd name="T5" fmla="*/ 68 h 211"/>
                    <a:gd name="T6" fmla="*/ 183 w 232"/>
                    <a:gd name="T7" fmla="*/ 80 h 211"/>
                    <a:gd name="T8" fmla="*/ 180 w 232"/>
                    <a:gd name="T9" fmla="*/ 87 h 211"/>
                    <a:gd name="T10" fmla="*/ 165 w 232"/>
                    <a:gd name="T11" fmla="*/ 109 h 211"/>
                    <a:gd name="T12" fmla="*/ 169 w 232"/>
                    <a:gd name="T13" fmla="*/ 133 h 211"/>
                    <a:gd name="T14" fmla="*/ 162 w 232"/>
                    <a:gd name="T15" fmla="*/ 143 h 211"/>
                    <a:gd name="T16" fmla="*/ 152 w 232"/>
                    <a:gd name="T17" fmla="*/ 158 h 211"/>
                    <a:gd name="T18" fmla="*/ 147 w 232"/>
                    <a:gd name="T19" fmla="*/ 169 h 211"/>
                    <a:gd name="T20" fmla="*/ 133 w 232"/>
                    <a:gd name="T21" fmla="*/ 176 h 211"/>
                    <a:gd name="T22" fmla="*/ 123 w 232"/>
                    <a:gd name="T23" fmla="*/ 191 h 211"/>
                    <a:gd name="T24" fmla="*/ 112 w 232"/>
                    <a:gd name="T25" fmla="*/ 193 h 211"/>
                    <a:gd name="T26" fmla="*/ 95 w 232"/>
                    <a:gd name="T27" fmla="*/ 191 h 211"/>
                    <a:gd name="T28" fmla="*/ 77 w 232"/>
                    <a:gd name="T29" fmla="*/ 197 h 211"/>
                    <a:gd name="T30" fmla="*/ 64 w 232"/>
                    <a:gd name="T31" fmla="*/ 204 h 211"/>
                    <a:gd name="T32" fmla="*/ 58 w 232"/>
                    <a:gd name="T33" fmla="*/ 211 h 211"/>
                    <a:gd name="T34" fmla="*/ 47 w 232"/>
                    <a:gd name="T35" fmla="*/ 203 h 211"/>
                    <a:gd name="T36" fmla="*/ 44 w 232"/>
                    <a:gd name="T37" fmla="*/ 191 h 211"/>
                    <a:gd name="T38" fmla="*/ 39 w 232"/>
                    <a:gd name="T39" fmla="*/ 183 h 211"/>
                    <a:gd name="T40" fmla="*/ 31 w 232"/>
                    <a:gd name="T41" fmla="*/ 178 h 211"/>
                    <a:gd name="T42" fmla="*/ 25 w 232"/>
                    <a:gd name="T43" fmla="*/ 164 h 211"/>
                    <a:gd name="T44" fmla="*/ 33 w 232"/>
                    <a:gd name="T45" fmla="*/ 151 h 211"/>
                    <a:gd name="T46" fmla="*/ 35 w 232"/>
                    <a:gd name="T47" fmla="*/ 131 h 211"/>
                    <a:gd name="T48" fmla="*/ 30 w 232"/>
                    <a:gd name="T49" fmla="*/ 116 h 211"/>
                    <a:gd name="T50" fmla="*/ 38 w 232"/>
                    <a:gd name="T51" fmla="*/ 108 h 211"/>
                    <a:gd name="T52" fmla="*/ 41 w 232"/>
                    <a:gd name="T53" fmla="*/ 90 h 211"/>
                    <a:gd name="T54" fmla="*/ 49 w 232"/>
                    <a:gd name="T55" fmla="*/ 66 h 211"/>
                    <a:gd name="T56" fmla="*/ 48 w 232"/>
                    <a:gd name="T57" fmla="*/ 54 h 211"/>
                    <a:gd name="T58" fmla="*/ 37 w 232"/>
                    <a:gd name="T59" fmla="*/ 49 h 211"/>
                    <a:gd name="T60" fmla="*/ 26 w 232"/>
                    <a:gd name="T61" fmla="*/ 51 h 211"/>
                    <a:gd name="T62" fmla="*/ 19 w 232"/>
                    <a:gd name="T63" fmla="*/ 46 h 211"/>
                    <a:gd name="T64" fmla="*/ 9 w 232"/>
                    <a:gd name="T65" fmla="*/ 47 h 211"/>
                    <a:gd name="T66" fmla="*/ 11 w 232"/>
                    <a:gd name="T67" fmla="*/ 39 h 211"/>
                    <a:gd name="T68" fmla="*/ 10 w 232"/>
                    <a:gd name="T69" fmla="*/ 36 h 211"/>
                    <a:gd name="T70" fmla="*/ 8 w 232"/>
                    <a:gd name="T71" fmla="*/ 29 h 211"/>
                    <a:gd name="T72" fmla="*/ 7 w 232"/>
                    <a:gd name="T73" fmla="*/ 26 h 211"/>
                    <a:gd name="T74" fmla="*/ 0 w 232"/>
                    <a:gd name="T75" fmla="*/ 22 h 211"/>
                    <a:gd name="T76" fmla="*/ 9 w 232"/>
                    <a:gd name="T77" fmla="*/ 13 h 211"/>
                    <a:gd name="T78" fmla="*/ 20 w 232"/>
                    <a:gd name="T79" fmla="*/ 9 h 211"/>
                    <a:gd name="T80" fmla="*/ 27 w 232"/>
                    <a:gd name="T81" fmla="*/ 1 h 211"/>
                    <a:gd name="T82" fmla="*/ 34 w 232"/>
                    <a:gd name="T83" fmla="*/ 2 h 211"/>
                    <a:gd name="T84" fmla="*/ 45 w 232"/>
                    <a:gd name="T85" fmla="*/ 6 h 211"/>
                    <a:gd name="T86" fmla="*/ 63 w 232"/>
                    <a:gd name="T87" fmla="*/ 5 h 211"/>
                    <a:gd name="T88" fmla="*/ 75 w 232"/>
                    <a:gd name="T89" fmla="*/ 7 h 211"/>
                    <a:gd name="T90" fmla="*/ 98 w 232"/>
                    <a:gd name="T91" fmla="*/ 9 h 211"/>
                    <a:gd name="T92" fmla="*/ 113 w 232"/>
                    <a:gd name="T93" fmla="*/ 11 h 211"/>
                    <a:gd name="T94" fmla="*/ 129 w 232"/>
                    <a:gd name="T95" fmla="*/ 12 h 211"/>
                    <a:gd name="T96" fmla="*/ 139 w 232"/>
                    <a:gd name="T97" fmla="*/ 11 h 211"/>
                    <a:gd name="T98" fmla="*/ 145 w 232"/>
                    <a:gd name="T99" fmla="*/ 15 h 211"/>
                    <a:gd name="T100" fmla="*/ 155 w 232"/>
                    <a:gd name="T101" fmla="*/ 22 h 211"/>
                    <a:gd name="T102" fmla="*/ 167 w 232"/>
                    <a:gd name="T103" fmla="*/ 26 h 211"/>
                    <a:gd name="T104" fmla="*/ 181 w 232"/>
                    <a:gd name="T105" fmla="*/ 29 h 211"/>
                    <a:gd name="T106" fmla="*/ 194 w 232"/>
                    <a:gd name="T107" fmla="*/ 27 h 211"/>
                    <a:gd name="T108" fmla="*/ 208 w 232"/>
                    <a:gd name="T109" fmla="*/ 37 h 211"/>
                    <a:gd name="T110" fmla="*/ 224 w 232"/>
                    <a:gd name="T111" fmla="*/ 35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32" h="211">
                      <a:moveTo>
                        <a:pt x="229" y="36"/>
                      </a:moveTo>
                      <a:cubicBezTo>
                        <a:pt x="229" y="36"/>
                        <a:pt x="228" y="38"/>
                        <a:pt x="230" y="38"/>
                      </a:cubicBezTo>
                      <a:cubicBezTo>
                        <a:pt x="231" y="38"/>
                        <a:pt x="232" y="39"/>
                        <a:pt x="231" y="40"/>
                      </a:cubicBezTo>
                      <a:cubicBezTo>
                        <a:pt x="230" y="41"/>
                        <a:pt x="228" y="40"/>
                        <a:pt x="229" y="42"/>
                      </a:cubicBezTo>
                      <a:cubicBezTo>
                        <a:pt x="229" y="44"/>
                        <a:pt x="230" y="48"/>
                        <a:pt x="230" y="49"/>
                      </a:cubicBezTo>
                      <a:cubicBezTo>
                        <a:pt x="230" y="51"/>
                        <a:pt x="225" y="56"/>
                        <a:pt x="223" y="57"/>
                      </a:cubicBezTo>
                      <a:cubicBezTo>
                        <a:pt x="221" y="58"/>
                        <a:pt x="217" y="60"/>
                        <a:pt x="214" y="62"/>
                      </a:cubicBezTo>
                      <a:cubicBezTo>
                        <a:pt x="212" y="63"/>
                        <a:pt x="210" y="64"/>
                        <a:pt x="211" y="66"/>
                      </a:cubicBezTo>
                      <a:cubicBezTo>
                        <a:pt x="211" y="67"/>
                        <a:pt x="206" y="68"/>
                        <a:pt x="204" y="68"/>
                      </a:cubicBezTo>
                      <a:cubicBezTo>
                        <a:pt x="202" y="69"/>
                        <a:pt x="192" y="72"/>
                        <a:pt x="191" y="73"/>
                      </a:cubicBezTo>
                      <a:cubicBezTo>
                        <a:pt x="189" y="74"/>
                        <a:pt x="188" y="73"/>
                        <a:pt x="186" y="75"/>
                      </a:cubicBezTo>
                      <a:cubicBezTo>
                        <a:pt x="184" y="77"/>
                        <a:pt x="182" y="78"/>
                        <a:pt x="183" y="80"/>
                      </a:cubicBezTo>
                      <a:cubicBezTo>
                        <a:pt x="184" y="81"/>
                        <a:pt x="185" y="81"/>
                        <a:pt x="185" y="83"/>
                      </a:cubicBezTo>
                      <a:cubicBezTo>
                        <a:pt x="184" y="84"/>
                        <a:pt x="183" y="85"/>
                        <a:pt x="182" y="86"/>
                      </a:cubicBezTo>
                      <a:cubicBezTo>
                        <a:pt x="181" y="87"/>
                        <a:pt x="180" y="87"/>
                        <a:pt x="180" y="87"/>
                      </a:cubicBezTo>
                      <a:cubicBezTo>
                        <a:pt x="179" y="86"/>
                        <a:pt x="179" y="87"/>
                        <a:pt x="178" y="89"/>
                      </a:cubicBezTo>
                      <a:cubicBezTo>
                        <a:pt x="177" y="91"/>
                        <a:pt x="173" y="97"/>
                        <a:pt x="171" y="99"/>
                      </a:cubicBezTo>
                      <a:cubicBezTo>
                        <a:pt x="170" y="102"/>
                        <a:pt x="166" y="107"/>
                        <a:pt x="165" y="109"/>
                      </a:cubicBezTo>
                      <a:cubicBezTo>
                        <a:pt x="164" y="111"/>
                        <a:pt x="161" y="118"/>
                        <a:pt x="162" y="120"/>
                      </a:cubicBezTo>
                      <a:cubicBezTo>
                        <a:pt x="162" y="122"/>
                        <a:pt x="163" y="127"/>
                        <a:pt x="164" y="129"/>
                      </a:cubicBezTo>
                      <a:cubicBezTo>
                        <a:pt x="165" y="131"/>
                        <a:pt x="167" y="133"/>
                        <a:pt x="169" y="133"/>
                      </a:cubicBezTo>
                      <a:cubicBezTo>
                        <a:pt x="171" y="134"/>
                        <a:pt x="171" y="135"/>
                        <a:pt x="170" y="137"/>
                      </a:cubicBezTo>
                      <a:cubicBezTo>
                        <a:pt x="169" y="138"/>
                        <a:pt x="168" y="139"/>
                        <a:pt x="166" y="141"/>
                      </a:cubicBezTo>
                      <a:cubicBezTo>
                        <a:pt x="164" y="142"/>
                        <a:pt x="163" y="143"/>
                        <a:pt x="162" y="143"/>
                      </a:cubicBezTo>
                      <a:cubicBezTo>
                        <a:pt x="160" y="143"/>
                        <a:pt x="158" y="147"/>
                        <a:pt x="157" y="149"/>
                      </a:cubicBezTo>
                      <a:cubicBezTo>
                        <a:pt x="156" y="152"/>
                        <a:pt x="155" y="152"/>
                        <a:pt x="154" y="154"/>
                      </a:cubicBezTo>
                      <a:cubicBezTo>
                        <a:pt x="154" y="155"/>
                        <a:pt x="154" y="156"/>
                        <a:pt x="152" y="158"/>
                      </a:cubicBezTo>
                      <a:cubicBezTo>
                        <a:pt x="151" y="161"/>
                        <a:pt x="150" y="163"/>
                        <a:pt x="151" y="165"/>
                      </a:cubicBezTo>
                      <a:cubicBezTo>
                        <a:pt x="152" y="166"/>
                        <a:pt x="154" y="166"/>
                        <a:pt x="152" y="167"/>
                      </a:cubicBezTo>
                      <a:cubicBezTo>
                        <a:pt x="150" y="168"/>
                        <a:pt x="150" y="169"/>
                        <a:pt x="147" y="169"/>
                      </a:cubicBezTo>
                      <a:cubicBezTo>
                        <a:pt x="145" y="169"/>
                        <a:pt x="143" y="169"/>
                        <a:pt x="141" y="169"/>
                      </a:cubicBezTo>
                      <a:cubicBezTo>
                        <a:pt x="139" y="170"/>
                        <a:pt x="138" y="173"/>
                        <a:pt x="137" y="173"/>
                      </a:cubicBezTo>
                      <a:cubicBezTo>
                        <a:pt x="137" y="174"/>
                        <a:pt x="135" y="174"/>
                        <a:pt x="133" y="176"/>
                      </a:cubicBezTo>
                      <a:cubicBezTo>
                        <a:pt x="132" y="178"/>
                        <a:pt x="132" y="176"/>
                        <a:pt x="131" y="179"/>
                      </a:cubicBezTo>
                      <a:cubicBezTo>
                        <a:pt x="131" y="183"/>
                        <a:pt x="129" y="185"/>
                        <a:pt x="127" y="187"/>
                      </a:cubicBezTo>
                      <a:cubicBezTo>
                        <a:pt x="126" y="190"/>
                        <a:pt x="124" y="193"/>
                        <a:pt x="123" y="191"/>
                      </a:cubicBezTo>
                      <a:cubicBezTo>
                        <a:pt x="122" y="190"/>
                        <a:pt x="123" y="189"/>
                        <a:pt x="120" y="189"/>
                      </a:cubicBezTo>
                      <a:cubicBezTo>
                        <a:pt x="118" y="189"/>
                        <a:pt x="117" y="189"/>
                        <a:pt x="116" y="191"/>
                      </a:cubicBezTo>
                      <a:cubicBezTo>
                        <a:pt x="115" y="192"/>
                        <a:pt x="114" y="195"/>
                        <a:pt x="112" y="193"/>
                      </a:cubicBezTo>
                      <a:cubicBezTo>
                        <a:pt x="110" y="192"/>
                        <a:pt x="108" y="191"/>
                        <a:pt x="105" y="191"/>
                      </a:cubicBezTo>
                      <a:cubicBezTo>
                        <a:pt x="102" y="192"/>
                        <a:pt x="101" y="193"/>
                        <a:pt x="99" y="193"/>
                      </a:cubicBezTo>
                      <a:cubicBezTo>
                        <a:pt x="98" y="193"/>
                        <a:pt x="98" y="191"/>
                        <a:pt x="95" y="191"/>
                      </a:cubicBezTo>
                      <a:cubicBezTo>
                        <a:pt x="92" y="192"/>
                        <a:pt x="87" y="191"/>
                        <a:pt x="86" y="192"/>
                      </a:cubicBezTo>
                      <a:cubicBezTo>
                        <a:pt x="84" y="192"/>
                        <a:pt x="82" y="192"/>
                        <a:pt x="81" y="192"/>
                      </a:cubicBezTo>
                      <a:cubicBezTo>
                        <a:pt x="80" y="192"/>
                        <a:pt x="79" y="196"/>
                        <a:pt x="77" y="197"/>
                      </a:cubicBezTo>
                      <a:cubicBezTo>
                        <a:pt x="75" y="198"/>
                        <a:pt x="73" y="198"/>
                        <a:pt x="72" y="198"/>
                      </a:cubicBezTo>
                      <a:cubicBezTo>
                        <a:pt x="71" y="198"/>
                        <a:pt x="70" y="198"/>
                        <a:pt x="68" y="200"/>
                      </a:cubicBezTo>
                      <a:cubicBezTo>
                        <a:pt x="66" y="202"/>
                        <a:pt x="65" y="202"/>
                        <a:pt x="64" y="204"/>
                      </a:cubicBezTo>
                      <a:cubicBezTo>
                        <a:pt x="63" y="205"/>
                        <a:pt x="63" y="207"/>
                        <a:pt x="62" y="207"/>
                      </a:cubicBezTo>
                      <a:cubicBezTo>
                        <a:pt x="60" y="207"/>
                        <a:pt x="60" y="208"/>
                        <a:pt x="60" y="209"/>
                      </a:cubicBezTo>
                      <a:cubicBezTo>
                        <a:pt x="60" y="210"/>
                        <a:pt x="59" y="211"/>
                        <a:pt x="58" y="211"/>
                      </a:cubicBezTo>
                      <a:cubicBezTo>
                        <a:pt x="56" y="211"/>
                        <a:pt x="55" y="208"/>
                        <a:pt x="54" y="208"/>
                      </a:cubicBezTo>
                      <a:cubicBezTo>
                        <a:pt x="52" y="207"/>
                        <a:pt x="52" y="207"/>
                        <a:pt x="50" y="207"/>
                      </a:cubicBezTo>
                      <a:cubicBezTo>
                        <a:pt x="49" y="207"/>
                        <a:pt x="49" y="205"/>
                        <a:pt x="47" y="203"/>
                      </a:cubicBezTo>
                      <a:cubicBezTo>
                        <a:pt x="46" y="201"/>
                        <a:pt x="45" y="200"/>
                        <a:pt x="46" y="198"/>
                      </a:cubicBezTo>
                      <a:cubicBezTo>
                        <a:pt x="47" y="196"/>
                        <a:pt x="46" y="196"/>
                        <a:pt x="45" y="195"/>
                      </a:cubicBezTo>
                      <a:cubicBezTo>
                        <a:pt x="44" y="194"/>
                        <a:pt x="43" y="192"/>
                        <a:pt x="44" y="191"/>
                      </a:cubicBezTo>
                      <a:cubicBezTo>
                        <a:pt x="44" y="189"/>
                        <a:pt x="47" y="186"/>
                        <a:pt x="46" y="186"/>
                      </a:cubicBezTo>
                      <a:cubicBezTo>
                        <a:pt x="45" y="187"/>
                        <a:pt x="43" y="189"/>
                        <a:pt x="43" y="188"/>
                      </a:cubicBezTo>
                      <a:cubicBezTo>
                        <a:pt x="43" y="187"/>
                        <a:pt x="40" y="184"/>
                        <a:pt x="39" y="183"/>
                      </a:cubicBezTo>
                      <a:cubicBezTo>
                        <a:pt x="38" y="182"/>
                        <a:pt x="36" y="182"/>
                        <a:pt x="35" y="180"/>
                      </a:cubicBezTo>
                      <a:cubicBezTo>
                        <a:pt x="35" y="179"/>
                        <a:pt x="36" y="176"/>
                        <a:pt x="34" y="176"/>
                      </a:cubicBezTo>
                      <a:cubicBezTo>
                        <a:pt x="33" y="176"/>
                        <a:pt x="33" y="179"/>
                        <a:pt x="31" y="178"/>
                      </a:cubicBezTo>
                      <a:cubicBezTo>
                        <a:pt x="30" y="178"/>
                        <a:pt x="25" y="180"/>
                        <a:pt x="25" y="179"/>
                      </a:cubicBezTo>
                      <a:cubicBezTo>
                        <a:pt x="24" y="178"/>
                        <a:pt x="24" y="171"/>
                        <a:pt x="23" y="170"/>
                      </a:cubicBezTo>
                      <a:cubicBezTo>
                        <a:pt x="23" y="169"/>
                        <a:pt x="23" y="166"/>
                        <a:pt x="25" y="164"/>
                      </a:cubicBezTo>
                      <a:cubicBezTo>
                        <a:pt x="26" y="162"/>
                        <a:pt x="29" y="158"/>
                        <a:pt x="30" y="156"/>
                      </a:cubicBezTo>
                      <a:cubicBezTo>
                        <a:pt x="32" y="154"/>
                        <a:pt x="34" y="155"/>
                        <a:pt x="34" y="153"/>
                      </a:cubicBezTo>
                      <a:cubicBezTo>
                        <a:pt x="34" y="151"/>
                        <a:pt x="35" y="151"/>
                        <a:pt x="33" y="151"/>
                      </a:cubicBezTo>
                      <a:cubicBezTo>
                        <a:pt x="32" y="150"/>
                        <a:pt x="30" y="147"/>
                        <a:pt x="29" y="145"/>
                      </a:cubicBezTo>
                      <a:cubicBezTo>
                        <a:pt x="28" y="144"/>
                        <a:pt x="28" y="139"/>
                        <a:pt x="30" y="137"/>
                      </a:cubicBezTo>
                      <a:cubicBezTo>
                        <a:pt x="32" y="135"/>
                        <a:pt x="34" y="133"/>
                        <a:pt x="35" y="131"/>
                      </a:cubicBezTo>
                      <a:cubicBezTo>
                        <a:pt x="36" y="128"/>
                        <a:pt x="36" y="127"/>
                        <a:pt x="34" y="126"/>
                      </a:cubicBezTo>
                      <a:cubicBezTo>
                        <a:pt x="32" y="125"/>
                        <a:pt x="31" y="125"/>
                        <a:pt x="31" y="122"/>
                      </a:cubicBezTo>
                      <a:cubicBezTo>
                        <a:pt x="30" y="120"/>
                        <a:pt x="30" y="118"/>
                        <a:pt x="30" y="116"/>
                      </a:cubicBezTo>
                      <a:cubicBezTo>
                        <a:pt x="29" y="115"/>
                        <a:pt x="28" y="114"/>
                        <a:pt x="27" y="113"/>
                      </a:cubicBezTo>
                      <a:cubicBezTo>
                        <a:pt x="26" y="111"/>
                        <a:pt x="29" y="112"/>
                        <a:pt x="32" y="112"/>
                      </a:cubicBezTo>
                      <a:cubicBezTo>
                        <a:pt x="35" y="112"/>
                        <a:pt x="38" y="110"/>
                        <a:pt x="38" y="108"/>
                      </a:cubicBezTo>
                      <a:cubicBezTo>
                        <a:pt x="38" y="106"/>
                        <a:pt x="40" y="104"/>
                        <a:pt x="39" y="102"/>
                      </a:cubicBezTo>
                      <a:cubicBezTo>
                        <a:pt x="38" y="100"/>
                        <a:pt x="36" y="97"/>
                        <a:pt x="38" y="95"/>
                      </a:cubicBezTo>
                      <a:cubicBezTo>
                        <a:pt x="40" y="93"/>
                        <a:pt x="41" y="94"/>
                        <a:pt x="41" y="90"/>
                      </a:cubicBezTo>
                      <a:cubicBezTo>
                        <a:pt x="41" y="86"/>
                        <a:pt x="42" y="79"/>
                        <a:pt x="42" y="76"/>
                      </a:cubicBezTo>
                      <a:cubicBezTo>
                        <a:pt x="42" y="74"/>
                        <a:pt x="41" y="74"/>
                        <a:pt x="43" y="71"/>
                      </a:cubicBezTo>
                      <a:cubicBezTo>
                        <a:pt x="45" y="69"/>
                        <a:pt x="47" y="67"/>
                        <a:pt x="49" y="66"/>
                      </a:cubicBezTo>
                      <a:cubicBezTo>
                        <a:pt x="51" y="65"/>
                        <a:pt x="53" y="62"/>
                        <a:pt x="53" y="61"/>
                      </a:cubicBezTo>
                      <a:cubicBezTo>
                        <a:pt x="54" y="60"/>
                        <a:pt x="53" y="58"/>
                        <a:pt x="51" y="57"/>
                      </a:cubicBezTo>
                      <a:cubicBezTo>
                        <a:pt x="49" y="56"/>
                        <a:pt x="47" y="56"/>
                        <a:pt x="48" y="54"/>
                      </a:cubicBezTo>
                      <a:cubicBezTo>
                        <a:pt x="49" y="52"/>
                        <a:pt x="48" y="50"/>
                        <a:pt x="47" y="50"/>
                      </a:cubicBezTo>
                      <a:cubicBezTo>
                        <a:pt x="45" y="50"/>
                        <a:pt x="43" y="49"/>
                        <a:pt x="41" y="49"/>
                      </a:cubicBezTo>
                      <a:cubicBezTo>
                        <a:pt x="40" y="49"/>
                        <a:pt x="38" y="48"/>
                        <a:pt x="37" y="49"/>
                      </a:cubicBezTo>
                      <a:cubicBezTo>
                        <a:pt x="36" y="50"/>
                        <a:pt x="35" y="52"/>
                        <a:pt x="34" y="52"/>
                      </a:cubicBezTo>
                      <a:cubicBezTo>
                        <a:pt x="33" y="52"/>
                        <a:pt x="31" y="53"/>
                        <a:pt x="30" y="52"/>
                      </a:cubicBezTo>
                      <a:cubicBezTo>
                        <a:pt x="29" y="51"/>
                        <a:pt x="28" y="51"/>
                        <a:pt x="26" y="51"/>
                      </a:cubicBezTo>
                      <a:cubicBezTo>
                        <a:pt x="24" y="51"/>
                        <a:pt x="21" y="52"/>
                        <a:pt x="19" y="52"/>
                      </a:cubicBezTo>
                      <a:cubicBezTo>
                        <a:pt x="17" y="53"/>
                        <a:pt x="17" y="51"/>
                        <a:pt x="19" y="49"/>
                      </a:cubicBezTo>
                      <a:cubicBezTo>
                        <a:pt x="20" y="47"/>
                        <a:pt x="20" y="46"/>
                        <a:pt x="19" y="46"/>
                      </a:cubicBezTo>
                      <a:cubicBezTo>
                        <a:pt x="18" y="46"/>
                        <a:pt x="17" y="46"/>
                        <a:pt x="18" y="45"/>
                      </a:cubicBezTo>
                      <a:cubicBezTo>
                        <a:pt x="19" y="43"/>
                        <a:pt x="18" y="45"/>
                        <a:pt x="16" y="46"/>
                      </a:cubicBezTo>
                      <a:cubicBezTo>
                        <a:pt x="13" y="46"/>
                        <a:pt x="11" y="45"/>
                        <a:pt x="9" y="47"/>
                      </a:cubicBezTo>
                      <a:cubicBezTo>
                        <a:pt x="7" y="48"/>
                        <a:pt x="6" y="50"/>
                        <a:pt x="6" y="50"/>
                      </a:cubicBezTo>
                      <a:cubicBezTo>
                        <a:pt x="6" y="50"/>
                        <a:pt x="4" y="46"/>
                        <a:pt x="5" y="45"/>
                      </a:cubicBezTo>
                      <a:cubicBezTo>
                        <a:pt x="7" y="43"/>
                        <a:pt x="9" y="41"/>
                        <a:pt x="11" y="39"/>
                      </a:cubicBezTo>
                      <a:cubicBezTo>
                        <a:pt x="12" y="37"/>
                        <a:pt x="9" y="41"/>
                        <a:pt x="7" y="41"/>
                      </a:cubicBezTo>
                      <a:cubicBezTo>
                        <a:pt x="6" y="42"/>
                        <a:pt x="5" y="41"/>
                        <a:pt x="7" y="39"/>
                      </a:cubicBezTo>
                      <a:cubicBezTo>
                        <a:pt x="8" y="38"/>
                        <a:pt x="11" y="35"/>
                        <a:pt x="10" y="36"/>
                      </a:cubicBezTo>
                      <a:cubicBezTo>
                        <a:pt x="8" y="37"/>
                        <a:pt x="7" y="38"/>
                        <a:pt x="6" y="37"/>
                      </a:cubicBezTo>
                      <a:cubicBezTo>
                        <a:pt x="6" y="36"/>
                        <a:pt x="7" y="33"/>
                        <a:pt x="8" y="32"/>
                      </a:cubicBezTo>
                      <a:cubicBezTo>
                        <a:pt x="9" y="30"/>
                        <a:pt x="10" y="28"/>
                        <a:pt x="8" y="29"/>
                      </a:cubicBezTo>
                      <a:cubicBezTo>
                        <a:pt x="7" y="30"/>
                        <a:pt x="6" y="34"/>
                        <a:pt x="4" y="33"/>
                      </a:cubicBezTo>
                      <a:cubicBezTo>
                        <a:pt x="3" y="33"/>
                        <a:pt x="3" y="30"/>
                        <a:pt x="5" y="29"/>
                      </a:cubicBezTo>
                      <a:cubicBezTo>
                        <a:pt x="6" y="28"/>
                        <a:pt x="8" y="25"/>
                        <a:pt x="7" y="26"/>
                      </a:cubicBezTo>
                      <a:cubicBezTo>
                        <a:pt x="5" y="27"/>
                        <a:pt x="4" y="29"/>
                        <a:pt x="3" y="28"/>
                      </a:cubicBezTo>
                      <a:cubicBezTo>
                        <a:pt x="2" y="28"/>
                        <a:pt x="3" y="26"/>
                        <a:pt x="2" y="24"/>
                      </a:cubicBezTo>
                      <a:cubicBezTo>
                        <a:pt x="1" y="23"/>
                        <a:pt x="0" y="25"/>
                        <a:pt x="0" y="22"/>
                      </a:cubicBezTo>
                      <a:cubicBezTo>
                        <a:pt x="0" y="19"/>
                        <a:pt x="0" y="17"/>
                        <a:pt x="2" y="17"/>
                      </a:cubicBezTo>
                      <a:cubicBezTo>
                        <a:pt x="4" y="16"/>
                        <a:pt x="6" y="15"/>
                        <a:pt x="7" y="14"/>
                      </a:cubicBezTo>
                      <a:cubicBezTo>
                        <a:pt x="7" y="13"/>
                        <a:pt x="8" y="13"/>
                        <a:pt x="9" y="13"/>
                      </a:cubicBezTo>
                      <a:cubicBezTo>
                        <a:pt x="11" y="13"/>
                        <a:pt x="14" y="12"/>
                        <a:pt x="15" y="11"/>
                      </a:cubicBezTo>
                      <a:cubicBezTo>
                        <a:pt x="16" y="11"/>
                        <a:pt x="18" y="12"/>
                        <a:pt x="20" y="11"/>
                      </a:cubicBezTo>
                      <a:cubicBezTo>
                        <a:pt x="21" y="10"/>
                        <a:pt x="21" y="9"/>
                        <a:pt x="20" y="9"/>
                      </a:cubicBezTo>
                      <a:cubicBezTo>
                        <a:pt x="20" y="9"/>
                        <a:pt x="20" y="10"/>
                        <a:pt x="19" y="8"/>
                      </a:cubicBezTo>
                      <a:cubicBezTo>
                        <a:pt x="18" y="7"/>
                        <a:pt x="21" y="5"/>
                        <a:pt x="22" y="4"/>
                      </a:cubicBezTo>
                      <a:cubicBezTo>
                        <a:pt x="23" y="4"/>
                        <a:pt x="27" y="0"/>
                        <a:pt x="27" y="1"/>
                      </a:cubicBezTo>
                      <a:cubicBezTo>
                        <a:pt x="27" y="2"/>
                        <a:pt x="28" y="3"/>
                        <a:pt x="29" y="2"/>
                      </a:cubicBezTo>
                      <a:cubicBezTo>
                        <a:pt x="30" y="1"/>
                        <a:pt x="30" y="1"/>
                        <a:pt x="31" y="2"/>
                      </a:cubicBezTo>
                      <a:cubicBezTo>
                        <a:pt x="32" y="3"/>
                        <a:pt x="32" y="2"/>
                        <a:pt x="34" y="2"/>
                      </a:cubicBezTo>
                      <a:cubicBezTo>
                        <a:pt x="35" y="1"/>
                        <a:pt x="36" y="3"/>
                        <a:pt x="38" y="5"/>
                      </a:cubicBezTo>
                      <a:cubicBezTo>
                        <a:pt x="39" y="6"/>
                        <a:pt x="41" y="5"/>
                        <a:pt x="42" y="7"/>
                      </a:cubicBezTo>
                      <a:cubicBezTo>
                        <a:pt x="42" y="8"/>
                        <a:pt x="43" y="7"/>
                        <a:pt x="45" y="6"/>
                      </a:cubicBezTo>
                      <a:cubicBezTo>
                        <a:pt x="47" y="4"/>
                        <a:pt x="49" y="6"/>
                        <a:pt x="52" y="6"/>
                      </a:cubicBezTo>
                      <a:cubicBezTo>
                        <a:pt x="55" y="6"/>
                        <a:pt x="57" y="6"/>
                        <a:pt x="59" y="5"/>
                      </a:cubicBezTo>
                      <a:cubicBezTo>
                        <a:pt x="61" y="5"/>
                        <a:pt x="62" y="6"/>
                        <a:pt x="63" y="5"/>
                      </a:cubicBezTo>
                      <a:cubicBezTo>
                        <a:pt x="63" y="3"/>
                        <a:pt x="65" y="4"/>
                        <a:pt x="66" y="5"/>
                      </a:cubicBezTo>
                      <a:cubicBezTo>
                        <a:pt x="67" y="6"/>
                        <a:pt x="69" y="5"/>
                        <a:pt x="71" y="5"/>
                      </a:cubicBezTo>
                      <a:cubicBezTo>
                        <a:pt x="73" y="6"/>
                        <a:pt x="74" y="6"/>
                        <a:pt x="75" y="7"/>
                      </a:cubicBezTo>
                      <a:cubicBezTo>
                        <a:pt x="76" y="9"/>
                        <a:pt x="78" y="9"/>
                        <a:pt x="81" y="9"/>
                      </a:cubicBezTo>
                      <a:cubicBezTo>
                        <a:pt x="84" y="9"/>
                        <a:pt x="86" y="10"/>
                        <a:pt x="89" y="10"/>
                      </a:cubicBezTo>
                      <a:cubicBezTo>
                        <a:pt x="91" y="10"/>
                        <a:pt x="96" y="10"/>
                        <a:pt x="98" y="9"/>
                      </a:cubicBezTo>
                      <a:cubicBezTo>
                        <a:pt x="100" y="8"/>
                        <a:pt x="101" y="8"/>
                        <a:pt x="103" y="8"/>
                      </a:cubicBezTo>
                      <a:cubicBezTo>
                        <a:pt x="105" y="8"/>
                        <a:pt x="105" y="7"/>
                        <a:pt x="106" y="8"/>
                      </a:cubicBezTo>
                      <a:cubicBezTo>
                        <a:pt x="108" y="8"/>
                        <a:pt x="111" y="10"/>
                        <a:pt x="113" y="11"/>
                      </a:cubicBezTo>
                      <a:cubicBezTo>
                        <a:pt x="115" y="12"/>
                        <a:pt x="115" y="11"/>
                        <a:pt x="117" y="10"/>
                      </a:cubicBezTo>
                      <a:cubicBezTo>
                        <a:pt x="119" y="8"/>
                        <a:pt x="122" y="9"/>
                        <a:pt x="123" y="10"/>
                      </a:cubicBezTo>
                      <a:cubicBezTo>
                        <a:pt x="125" y="11"/>
                        <a:pt x="127" y="12"/>
                        <a:pt x="129" y="12"/>
                      </a:cubicBezTo>
                      <a:cubicBezTo>
                        <a:pt x="131" y="13"/>
                        <a:pt x="133" y="12"/>
                        <a:pt x="136" y="12"/>
                      </a:cubicBezTo>
                      <a:cubicBezTo>
                        <a:pt x="139" y="11"/>
                        <a:pt x="139" y="11"/>
                        <a:pt x="139" y="11"/>
                      </a:cubicBezTo>
                      <a:cubicBezTo>
                        <a:pt x="139" y="11"/>
                        <a:pt x="139" y="11"/>
                        <a:pt x="139" y="11"/>
                      </a:cubicBezTo>
                      <a:cubicBezTo>
                        <a:pt x="139" y="11"/>
                        <a:pt x="139" y="11"/>
                        <a:pt x="139" y="11"/>
                      </a:cubicBezTo>
                      <a:cubicBezTo>
                        <a:pt x="139" y="12"/>
                        <a:pt x="141" y="13"/>
                        <a:pt x="143" y="13"/>
                      </a:cubicBezTo>
                      <a:cubicBezTo>
                        <a:pt x="145" y="13"/>
                        <a:pt x="146" y="13"/>
                        <a:pt x="145" y="15"/>
                      </a:cubicBezTo>
                      <a:cubicBezTo>
                        <a:pt x="145" y="18"/>
                        <a:pt x="144" y="19"/>
                        <a:pt x="146" y="19"/>
                      </a:cubicBezTo>
                      <a:cubicBezTo>
                        <a:pt x="147" y="20"/>
                        <a:pt x="148" y="19"/>
                        <a:pt x="149" y="20"/>
                      </a:cubicBezTo>
                      <a:cubicBezTo>
                        <a:pt x="150" y="20"/>
                        <a:pt x="153" y="22"/>
                        <a:pt x="155" y="22"/>
                      </a:cubicBezTo>
                      <a:cubicBezTo>
                        <a:pt x="157" y="23"/>
                        <a:pt x="157" y="21"/>
                        <a:pt x="158" y="24"/>
                      </a:cubicBezTo>
                      <a:cubicBezTo>
                        <a:pt x="159" y="26"/>
                        <a:pt x="160" y="26"/>
                        <a:pt x="163" y="26"/>
                      </a:cubicBezTo>
                      <a:cubicBezTo>
                        <a:pt x="165" y="25"/>
                        <a:pt x="165" y="25"/>
                        <a:pt x="167" y="26"/>
                      </a:cubicBezTo>
                      <a:cubicBezTo>
                        <a:pt x="169" y="27"/>
                        <a:pt x="170" y="29"/>
                        <a:pt x="172" y="29"/>
                      </a:cubicBezTo>
                      <a:cubicBezTo>
                        <a:pt x="174" y="28"/>
                        <a:pt x="174" y="28"/>
                        <a:pt x="176" y="29"/>
                      </a:cubicBezTo>
                      <a:cubicBezTo>
                        <a:pt x="177" y="29"/>
                        <a:pt x="179" y="29"/>
                        <a:pt x="181" y="29"/>
                      </a:cubicBezTo>
                      <a:cubicBezTo>
                        <a:pt x="183" y="29"/>
                        <a:pt x="184" y="27"/>
                        <a:pt x="184" y="25"/>
                      </a:cubicBezTo>
                      <a:cubicBezTo>
                        <a:pt x="185" y="24"/>
                        <a:pt x="185" y="24"/>
                        <a:pt x="187" y="25"/>
                      </a:cubicBezTo>
                      <a:cubicBezTo>
                        <a:pt x="190" y="27"/>
                        <a:pt x="193" y="27"/>
                        <a:pt x="194" y="27"/>
                      </a:cubicBezTo>
                      <a:cubicBezTo>
                        <a:pt x="196" y="27"/>
                        <a:pt x="196" y="30"/>
                        <a:pt x="197" y="30"/>
                      </a:cubicBezTo>
                      <a:cubicBezTo>
                        <a:pt x="199" y="30"/>
                        <a:pt x="203" y="31"/>
                        <a:pt x="203" y="32"/>
                      </a:cubicBezTo>
                      <a:cubicBezTo>
                        <a:pt x="204" y="34"/>
                        <a:pt x="207" y="35"/>
                        <a:pt x="208" y="37"/>
                      </a:cubicBezTo>
                      <a:cubicBezTo>
                        <a:pt x="209" y="39"/>
                        <a:pt x="211" y="37"/>
                        <a:pt x="212" y="37"/>
                      </a:cubicBezTo>
                      <a:cubicBezTo>
                        <a:pt x="213" y="36"/>
                        <a:pt x="217" y="38"/>
                        <a:pt x="218" y="39"/>
                      </a:cubicBezTo>
                      <a:cubicBezTo>
                        <a:pt x="219" y="39"/>
                        <a:pt x="222" y="37"/>
                        <a:pt x="224" y="35"/>
                      </a:cubicBezTo>
                      <a:cubicBezTo>
                        <a:pt x="225" y="34"/>
                        <a:pt x="229" y="36"/>
                        <a:pt x="229" y="3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8" name="Freeform 119">
                  <a:extLst>
                    <a:ext uri="{FF2B5EF4-FFF2-40B4-BE49-F238E27FC236}">
                      <a16:creationId xmlns:a16="http://schemas.microsoft.com/office/drawing/2014/main" id="{428F4177-A5FF-5822-D11C-5E4608F2036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752726" y="5876925"/>
                  <a:ext cx="33338" cy="33338"/>
                </a:xfrm>
                <a:custGeom>
                  <a:avLst/>
                  <a:gdLst>
                    <a:gd name="T0" fmla="*/ 5 w 8"/>
                    <a:gd name="T1" fmla="*/ 0 h 8"/>
                    <a:gd name="T2" fmla="*/ 0 w 8"/>
                    <a:gd name="T3" fmla="*/ 4 h 8"/>
                    <a:gd name="T4" fmla="*/ 3 w 8"/>
                    <a:gd name="T5" fmla="*/ 8 h 8"/>
                    <a:gd name="T6" fmla="*/ 7 w 8"/>
                    <a:gd name="T7" fmla="*/ 4 h 8"/>
                    <a:gd name="T8" fmla="*/ 5 w 8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8">
                      <a:moveTo>
                        <a:pt x="5" y="0"/>
                      </a:moveTo>
                      <a:cubicBezTo>
                        <a:pt x="4" y="0"/>
                        <a:pt x="0" y="2"/>
                        <a:pt x="0" y="4"/>
                      </a:cubicBezTo>
                      <a:cubicBezTo>
                        <a:pt x="0" y="6"/>
                        <a:pt x="2" y="8"/>
                        <a:pt x="3" y="8"/>
                      </a:cubicBezTo>
                      <a:cubicBezTo>
                        <a:pt x="5" y="8"/>
                        <a:pt x="6" y="5"/>
                        <a:pt x="7" y="4"/>
                      </a:cubicBezTo>
                      <a:cubicBezTo>
                        <a:pt x="8" y="2"/>
                        <a:pt x="7" y="0"/>
                        <a:pt x="5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9" name="Freeform 120">
                  <a:extLst>
                    <a:ext uri="{FF2B5EF4-FFF2-40B4-BE49-F238E27FC236}">
                      <a16:creationId xmlns:a16="http://schemas.microsoft.com/office/drawing/2014/main" id="{66F70765-C497-E2A5-65ED-24DD36FDB28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841626" y="5780088"/>
                  <a:ext cx="95250" cy="84138"/>
                </a:xfrm>
                <a:custGeom>
                  <a:avLst/>
                  <a:gdLst>
                    <a:gd name="T0" fmla="*/ 10 w 23"/>
                    <a:gd name="T1" fmla="*/ 4 h 20"/>
                    <a:gd name="T2" fmla="*/ 4 w 23"/>
                    <a:gd name="T3" fmla="*/ 9 h 20"/>
                    <a:gd name="T4" fmla="*/ 3 w 23"/>
                    <a:gd name="T5" fmla="*/ 13 h 20"/>
                    <a:gd name="T6" fmla="*/ 8 w 23"/>
                    <a:gd name="T7" fmla="*/ 12 h 20"/>
                    <a:gd name="T8" fmla="*/ 10 w 23"/>
                    <a:gd name="T9" fmla="*/ 16 h 20"/>
                    <a:gd name="T10" fmla="*/ 13 w 23"/>
                    <a:gd name="T11" fmla="*/ 18 h 20"/>
                    <a:gd name="T12" fmla="*/ 17 w 23"/>
                    <a:gd name="T13" fmla="*/ 18 h 20"/>
                    <a:gd name="T14" fmla="*/ 21 w 23"/>
                    <a:gd name="T15" fmla="*/ 9 h 20"/>
                    <a:gd name="T16" fmla="*/ 19 w 23"/>
                    <a:gd name="T17" fmla="*/ 5 h 20"/>
                    <a:gd name="T18" fmla="*/ 15 w 23"/>
                    <a:gd name="T19" fmla="*/ 3 h 20"/>
                    <a:gd name="T20" fmla="*/ 17 w 23"/>
                    <a:gd name="T21" fmla="*/ 0 h 20"/>
                    <a:gd name="T22" fmla="*/ 10 w 23"/>
                    <a:gd name="T23" fmla="*/ 4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" h="20">
                      <a:moveTo>
                        <a:pt x="10" y="4"/>
                      </a:moveTo>
                      <a:cubicBezTo>
                        <a:pt x="7" y="5"/>
                        <a:pt x="6" y="7"/>
                        <a:pt x="4" y="9"/>
                      </a:cubicBezTo>
                      <a:cubicBezTo>
                        <a:pt x="2" y="11"/>
                        <a:pt x="0" y="12"/>
                        <a:pt x="3" y="13"/>
                      </a:cubicBezTo>
                      <a:cubicBezTo>
                        <a:pt x="6" y="13"/>
                        <a:pt x="8" y="10"/>
                        <a:pt x="8" y="12"/>
                      </a:cubicBezTo>
                      <a:cubicBezTo>
                        <a:pt x="8" y="14"/>
                        <a:pt x="8" y="15"/>
                        <a:pt x="10" y="16"/>
                      </a:cubicBezTo>
                      <a:cubicBezTo>
                        <a:pt x="11" y="17"/>
                        <a:pt x="13" y="16"/>
                        <a:pt x="13" y="18"/>
                      </a:cubicBezTo>
                      <a:cubicBezTo>
                        <a:pt x="14" y="19"/>
                        <a:pt x="16" y="20"/>
                        <a:pt x="17" y="18"/>
                      </a:cubicBezTo>
                      <a:cubicBezTo>
                        <a:pt x="18" y="15"/>
                        <a:pt x="20" y="11"/>
                        <a:pt x="21" y="9"/>
                      </a:cubicBezTo>
                      <a:cubicBezTo>
                        <a:pt x="23" y="7"/>
                        <a:pt x="21" y="4"/>
                        <a:pt x="19" y="5"/>
                      </a:cubicBezTo>
                      <a:cubicBezTo>
                        <a:pt x="17" y="5"/>
                        <a:pt x="15" y="4"/>
                        <a:pt x="15" y="3"/>
                      </a:cubicBezTo>
                      <a:cubicBezTo>
                        <a:pt x="16" y="2"/>
                        <a:pt x="19" y="0"/>
                        <a:pt x="17" y="0"/>
                      </a:cubicBezTo>
                      <a:cubicBezTo>
                        <a:pt x="16" y="0"/>
                        <a:pt x="12" y="2"/>
                        <a:pt x="10" y="4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20" name="Freeform 121">
                  <a:extLst>
                    <a:ext uri="{FF2B5EF4-FFF2-40B4-BE49-F238E27FC236}">
                      <a16:creationId xmlns:a16="http://schemas.microsoft.com/office/drawing/2014/main" id="{71795439-89D8-5EFF-5BD7-C1C156EB676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957514" y="5768975"/>
                  <a:ext cx="46038" cy="33338"/>
                </a:xfrm>
                <a:custGeom>
                  <a:avLst/>
                  <a:gdLst>
                    <a:gd name="T0" fmla="*/ 3 w 11"/>
                    <a:gd name="T1" fmla="*/ 0 h 8"/>
                    <a:gd name="T2" fmla="*/ 1 w 11"/>
                    <a:gd name="T3" fmla="*/ 3 h 8"/>
                    <a:gd name="T4" fmla="*/ 6 w 11"/>
                    <a:gd name="T5" fmla="*/ 5 h 8"/>
                    <a:gd name="T6" fmla="*/ 10 w 11"/>
                    <a:gd name="T7" fmla="*/ 6 h 8"/>
                    <a:gd name="T8" fmla="*/ 7 w 11"/>
                    <a:gd name="T9" fmla="*/ 0 h 8"/>
                    <a:gd name="T10" fmla="*/ 3 w 11"/>
                    <a:gd name="T1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8">
                      <a:moveTo>
                        <a:pt x="3" y="0"/>
                      </a:moveTo>
                      <a:cubicBezTo>
                        <a:pt x="1" y="0"/>
                        <a:pt x="0" y="1"/>
                        <a:pt x="1" y="3"/>
                      </a:cubicBezTo>
                      <a:cubicBezTo>
                        <a:pt x="2" y="5"/>
                        <a:pt x="5" y="4"/>
                        <a:pt x="6" y="5"/>
                      </a:cubicBezTo>
                      <a:cubicBezTo>
                        <a:pt x="8" y="6"/>
                        <a:pt x="11" y="8"/>
                        <a:pt x="10" y="6"/>
                      </a:cubicBezTo>
                      <a:cubicBezTo>
                        <a:pt x="10" y="4"/>
                        <a:pt x="8" y="1"/>
                        <a:pt x="7" y="0"/>
                      </a:cubicBezTo>
                      <a:cubicBezTo>
                        <a:pt x="6" y="0"/>
                        <a:pt x="4" y="0"/>
                        <a:pt x="3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11" name="Freeform 123">
                <a:extLst>
                  <a:ext uri="{FF2B5EF4-FFF2-40B4-BE49-F238E27FC236}">
                    <a16:creationId xmlns:a16="http://schemas.microsoft.com/office/drawing/2014/main" id="{92721DB9-0675-DB09-502E-57FC003B13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030334" y="4087588"/>
                <a:ext cx="328107" cy="400505"/>
              </a:xfrm>
              <a:custGeom>
                <a:avLst/>
                <a:gdLst>
                  <a:gd name="T0" fmla="*/ 78 w 81"/>
                  <a:gd name="T1" fmla="*/ 41 h 99"/>
                  <a:gd name="T2" fmla="*/ 80 w 81"/>
                  <a:gd name="T3" fmla="*/ 48 h 99"/>
                  <a:gd name="T4" fmla="*/ 80 w 81"/>
                  <a:gd name="T5" fmla="*/ 58 h 99"/>
                  <a:gd name="T6" fmla="*/ 79 w 81"/>
                  <a:gd name="T7" fmla="*/ 68 h 99"/>
                  <a:gd name="T8" fmla="*/ 76 w 81"/>
                  <a:gd name="T9" fmla="*/ 74 h 99"/>
                  <a:gd name="T10" fmla="*/ 74 w 81"/>
                  <a:gd name="T11" fmla="*/ 80 h 99"/>
                  <a:gd name="T12" fmla="*/ 67 w 81"/>
                  <a:gd name="T13" fmla="*/ 80 h 99"/>
                  <a:gd name="T14" fmla="*/ 62 w 81"/>
                  <a:gd name="T15" fmla="*/ 80 h 99"/>
                  <a:gd name="T16" fmla="*/ 55 w 81"/>
                  <a:gd name="T17" fmla="*/ 83 h 99"/>
                  <a:gd name="T18" fmla="*/ 48 w 81"/>
                  <a:gd name="T19" fmla="*/ 87 h 99"/>
                  <a:gd name="T20" fmla="*/ 41 w 81"/>
                  <a:gd name="T21" fmla="*/ 91 h 99"/>
                  <a:gd name="T22" fmla="*/ 37 w 81"/>
                  <a:gd name="T23" fmla="*/ 89 h 99"/>
                  <a:gd name="T24" fmla="*/ 37 w 81"/>
                  <a:gd name="T25" fmla="*/ 93 h 99"/>
                  <a:gd name="T26" fmla="*/ 32 w 81"/>
                  <a:gd name="T27" fmla="*/ 95 h 99"/>
                  <a:gd name="T28" fmla="*/ 22 w 81"/>
                  <a:gd name="T29" fmla="*/ 97 h 99"/>
                  <a:gd name="T30" fmla="*/ 13 w 81"/>
                  <a:gd name="T31" fmla="*/ 98 h 99"/>
                  <a:gd name="T32" fmla="*/ 17 w 81"/>
                  <a:gd name="T33" fmla="*/ 93 h 99"/>
                  <a:gd name="T34" fmla="*/ 6 w 81"/>
                  <a:gd name="T35" fmla="*/ 95 h 99"/>
                  <a:gd name="T36" fmla="*/ 15 w 81"/>
                  <a:gd name="T37" fmla="*/ 89 h 99"/>
                  <a:gd name="T38" fmla="*/ 3 w 81"/>
                  <a:gd name="T39" fmla="*/ 89 h 99"/>
                  <a:gd name="T40" fmla="*/ 9 w 81"/>
                  <a:gd name="T41" fmla="*/ 86 h 99"/>
                  <a:gd name="T42" fmla="*/ 7 w 81"/>
                  <a:gd name="T43" fmla="*/ 84 h 99"/>
                  <a:gd name="T44" fmla="*/ 4 w 81"/>
                  <a:gd name="T45" fmla="*/ 81 h 99"/>
                  <a:gd name="T46" fmla="*/ 10 w 81"/>
                  <a:gd name="T47" fmla="*/ 79 h 99"/>
                  <a:gd name="T48" fmla="*/ 13 w 81"/>
                  <a:gd name="T49" fmla="*/ 79 h 99"/>
                  <a:gd name="T50" fmla="*/ 15 w 81"/>
                  <a:gd name="T51" fmla="*/ 75 h 99"/>
                  <a:gd name="T52" fmla="*/ 23 w 81"/>
                  <a:gd name="T53" fmla="*/ 73 h 99"/>
                  <a:gd name="T54" fmla="*/ 33 w 81"/>
                  <a:gd name="T55" fmla="*/ 70 h 99"/>
                  <a:gd name="T56" fmla="*/ 25 w 81"/>
                  <a:gd name="T57" fmla="*/ 71 h 99"/>
                  <a:gd name="T58" fmla="*/ 14 w 81"/>
                  <a:gd name="T59" fmla="*/ 72 h 99"/>
                  <a:gd name="T60" fmla="*/ 23 w 81"/>
                  <a:gd name="T61" fmla="*/ 64 h 99"/>
                  <a:gd name="T62" fmla="*/ 29 w 81"/>
                  <a:gd name="T63" fmla="*/ 59 h 99"/>
                  <a:gd name="T64" fmla="*/ 25 w 81"/>
                  <a:gd name="T65" fmla="*/ 56 h 99"/>
                  <a:gd name="T66" fmla="*/ 17 w 81"/>
                  <a:gd name="T67" fmla="*/ 55 h 99"/>
                  <a:gd name="T68" fmla="*/ 13 w 81"/>
                  <a:gd name="T69" fmla="*/ 52 h 99"/>
                  <a:gd name="T70" fmla="*/ 11 w 81"/>
                  <a:gd name="T71" fmla="*/ 50 h 99"/>
                  <a:gd name="T72" fmla="*/ 18 w 81"/>
                  <a:gd name="T73" fmla="*/ 47 h 99"/>
                  <a:gd name="T74" fmla="*/ 19 w 81"/>
                  <a:gd name="T75" fmla="*/ 43 h 99"/>
                  <a:gd name="T76" fmla="*/ 16 w 81"/>
                  <a:gd name="T77" fmla="*/ 35 h 99"/>
                  <a:gd name="T78" fmla="*/ 16 w 81"/>
                  <a:gd name="T79" fmla="*/ 30 h 99"/>
                  <a:gd name="T80" fmla="*/ 22 w 81"/>
                  <a:gd name="T81" fmla="*/ 30 h 99"/>
                  <a:gd name="T82" fmla="*/ 30 w 81"/>
                  <a:gd name="T83" fmla="*/ 34 h 99"/>
                  <a:gd name="T84" fmla="*/ 38 w 81"/>
                  <a:gd name="T85" fmla="*/ 31 h 99"/>
                  <a:gd name="T86" fmla="*/ 40 w 81"/>
                  <a:gd name="T87" fmla="*/ 26 h 99"/>
                  <a:gd name="T88" fmla="*/ 44 w 81"/>
                  <a:gd name="T89" fmla="*/ 22 h 99"/>
                  <a:gd name="T90" fmla="*/ 37 w 81"/>
                  <a:gd name="T91" fmla="*/ 19 h 99"/>
                  <a:gd name="T92" fmla="*/ 42 w 81"/>
                  <a:gd name="T93" fmla="*/ 15 h 99"/>
                  <a:gd name="T94" fmla="*/ 44 w 81"/>
                  <a:gd name="T95" fmla="*/ 9 h 99"/>
                  <a:gd name="T96" fmla="*/ 51 w 81"/>
                  <a:gd name="T97" fmla="*/ 4 h 99"/>
                  <a:gd name="T98" fmla="*/ 55 w 81"/>
                  <a:gd name="T99" fmla="*/ 4 h 99"/>
                  <a:gd name="T100" fmla="*/ 57 w 81"/>
                  <a:gd name="T101" fmla="*/ 8 h 99"/>
                  <a:gd name="T102" fmla="*/ 59 w 81"/>
                  <a:gd name="T103" fmla="*/ 5 h 99"/>
                  <a:gd name="T104" fmla="*/ 65 w 81"/>
                  <a:gd name="T105" fmla="*/ 1 h 99"/>
                  <a:gd name="T106" fmla="*/ 63 w 81"/>
                  <a:gd name="T107" fmla="*/ 8 h 99"/>
                  <a:gd name="T108" fmla="*/ 57 w 81"/>
                  <a:gd name="T109" fmla="*/ 16 h 99"/>
                  <a:gd name="T110" fmla="*/ 53 w 81"/>
                  <a:gd name="T111" fmla="*/ 21 h 99"/>
                  <a:gd name="T112" fmla="*/ 49 w 81"/>
                  <a:gd name="T113" fmla="*/ 28 h 99"/>
                  <a:gd name="T114" fmla="*/ 57 w 81"/>
                  <a:gd name="T115" fmla="*/ 34 h 99"/>
                  <a:gd name="T116" fmla="*/ 64 w 81"/>
                  <a:gd name="T117" fmla="*/ 29 h 99"/>
                  <a:gd name="T118" fmla="*/ 71 w 81"/>
                  <a:gd name="T119" fmla="*/ 33 h 99"/>
                  <a:gd name="T120" fmla="*/ 77 w 81"/>
                  <a:gd name="T121" fmla="*/ 38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1" h="99">
                    <a:moveTo>
                      <a:pt x="77" y="38"/>
                    </a:moveTo>
                    <a:cubicBezTo>
                      <a:pt x="76" y="39"/>
                      <a:pt x="76" y="41"/>
                      <a:pt x="78" y="41"/>
                    </a:cubicBezTo>
                    <a:cubicBezTo>
                      <a:pt x="79" y="42"/>
                      <a:pt x="79" y="42"/>
                      <a:pt x="79" y="44"/>
                    </a:cubicBezTo>
                    <a:cubicBezTo>
                      <a:pt x="78" y="47"/>
                      <a:pt x="79" y="48"/>
                      <a:pt x="80" y="48"/>
                    </a:cubicBezTo>
                    <a:cubicBezTo>
                      <a:pt x="81" y="49"/>
                      <a:pt x="81" y="50"/>
                      <a:pt x="80" y="51"/>
                    </a:cubicBezTo>
                    <a:cubicBezTo>
                      <a:pt x="80" y="52"/>
                      <a:pt x="79" y="56"/>
                      <a:pt x="80" y="58"/>
                    </a:cubicBezTo>
                    <a:cubicBezTo>
                      <a:pt x="81" y="60"/>
                      <a:pt x="81" y="60"/>
                      <a:pt x="80" y="62"/>
                    </a:cubicBezTo>
                    <a:cubicBezTo>
                      <a:pt x="80" y="65"/>
                      <a:pt x="81" y="66"/>
                      <a:pt x="79" y="68"/>
                    </a:cubicBezTo>
                    <a:cubicBezTo>
                      <a:pt x="77" y="70"/>
                      <a:pt x="77" y="70"/>
                      <a:pt x="77" y="72"/>
                    </a:cubicBezTo>
                    <a:cubicBezTo>
                      <a:pt x="77" y="73"/>
                      <a:pt x="77" y="73"/>
                      <a:pt x="76" y="74"/>
                    </a:cubicBezTo>
                    <a:cubicBezTo>
                      <a:pt x="74" y="76"/>
                      <a:pt x="74" y="77"/>
                      <a:pt x="72" y="78"/>
                    </a:cubicBezTo>
                    <a:cubicBezTo>
                      <a:pt x="71" y="79"/>
                      <a:pt x="73" y="78"/>
                      <a:pt x="74" y="80"/>
                    </a:cubicBezTo>
                    <a:cubicBezTo>
                      <a:pt x="74" y="82"/>
                      <a:pt x="72" y="82"/>
                      <a:pt x="70" y="82"/>
                    </a:cubicBezTo>
                    <a:cubicBezTo>
                      <a:pt x="68" y="82"/>
                      <a:pt x="68" y="79"/>
                      <a:pt x="67" y="80"/>
                    </a:cubicBezTo>
                    <a:cubicBezTo>
                      <a:pt x="65" y="82"/>
                      <a:pt x="64" y="84"/>
                      <a:pt x="63" y="83"/>
                    </a:cubicBezTo>
                    <a:cubicBezTo>
                      <a:pt x="63" y="81"/>
                      <a:pt x="63" y="79"/>
                      <a:pt x="62" y="80"/>
                    </a:cubicBezTo>
                    <a:cubicBezTo>
                      <a:pt x="61" y="80"/>
                      <a:pt x="61" y="84"/>
                      <a:pt x="60" y="84"/>
                    </a:cubicBezTo>
                    <a:cubicBezTo>
                      <a:pt x="59" y="84"/>
                      <a:pt x="56" y="83"/>
                      <a:pt x="55" y="83"/>
                    </a:cubicBezTo>
                    <a:cubicBezTo>
                      <a:pt x="53" y="83"/>
                      <a:pt x="52" y="85"/>
                      <a:pt x="51" y="86"/>
                    </a:cubicBezTo>
                    <a:cubicBezTo>
                      <a:pt x="51" y="87"/>
                      <a:pt x="49" y="86"/>
                      <a:pt x="48" y="87"/>
                    </a:cubicBezTo>
                    <a:cubicBezTo>
                      <a:pt x="46" y="87"/>
                      <a:pt x="46" y="88"/>
                      <a:pt x="45" y="90"/>
                    </a:cubicBezTo>
                    <a:cubicBezTo>
                      <a:pt x="44" y="91"/>
                      <a:pt x="41" y="91"/>
                      <a:pt x="41" y="91"/>
                    </a:cubicBezTo>
                    <a:cubicBezTo>
                      <a:pt x="40" y="90"/>
                      <a:pt x="41" y="89"/>
                      <a:pt x="40" y="89"/>
                    </a:cubicBezTo>
                    <a:cubicBezTo>
                      <a:pt x="38" y="88"/>
                      <a:pt x="38" y="89"/>
                      <a:pt x="37" y="89"/>
                    </a:cubicBezTo>
                    <a:cubicBezTo>
                      <a:pt x="36" y="88"/>
                      <a:pt x="38" y="91"/>
                      <a:pt x="38" y="91"/>
                    </a:cubicBezTo>
                    <a:cubicBezTo>
                      <a:pt x="38" y="91"/>
                      <a:pt x="38" y="93"/>
                      <a:pt x="37" y="93"/>
                    </a:cubicBezTo>
                    <a:cubicBezTo>
                      <a:pt x="36" y="93"/>
                      <a:pt x="36" y="93"/>
                      <a:pt x="35" y="95"/>
                    </a:cubicBezTo>
                    <a:cubicBezTo>
                      <a:pt x="34" y="96"/>
                      <a:pt x="33" y="95"/>
                      <a:pt x="32" y="95"/>
                    </a:cubicBezTo>
                    <a:cubicBezTo>
                      <a:pt x="30" y="95"/>
                      <a:pt x="31" y="96"/>
                      <a:pt x="29" y="96"/>
                    </a:cubicBezTo>
                    <a:cubicBezTo>
                      <a:pt x="27" y="97"/>
                      <a:pt x="24" y="96"/>
                      <a:pt x="22" y="97"/>
                    </a:cubicBezTo>
                    <a:cubicBezTo>
                      <a:pt x="21" y="98"/>
                      <a:pt x="20" y="98"/>
                      <a:pt x="17" y="98"/>
                    </a:cubicBezTo>
                    <a:cubicBezTo>
                      <a:pt x="15" y="98"/>
                      <a:pt x="14" y="99"/>
                      <a:pt x="13" y="98"/>
                    </a:cubicBezTo>
                    <a:cubicBezTo>
                      <a:pt x="12" y="98"/>
                      <a:pt x="13" y="97"/>
                      <a:pt x="15" y="96"/>
                    </a:cubicBezTo>
                    <a:cubicBezTo>
                      <a:pt x="16" y="95"/>
                      <a:pt x="18" y="93"/>
                      <a:pt x="17" y="93"/>
                    </a:cubicBezTo>
                    <a:cubicBezTo>
                      <a:pt x="16" y="93"/>
                      <a:pt x="11" y="94"/>
                      <a:pt x="10" y="95"/>
                    </a:cubicBezTo>
                    <a:cubicBezTo>
                      <a:pt x="8" y="95"/>
                      <a:pt x="6" y="96"/>
                      <a:pt x="6" y="95"/>
                    </a:cubicBezTo>
                    <a:cubicBezTo>
                      <a:pt x="7" y="94"/>
                      <a:pt x="8" y="93"/>
                      <a:pt x="10" y="92"/>
                    </a:cubicBezTo>
                    <a:cubicBezTo>
                      <a:pt x="12" y="90"/>
                      <a:pt x="16" y="90"/>
                      <a:pt x="15" y="89"/>
                    </a:cubicBezTo>
                    <a:cubicBezTo>
                      <a:pt x="15" y="88"/>
                      <a:pt x="7" y="91"/>
                      <a:pt x="5" y="91"/>
                    </a:cubicBezTo>
                    <a:cubicBezTo>
                      <a:pt x="3" y="91"/>
                      <a:pt x="4" y="90"/>
                      <a:pt x="3" y="89"/>
                    </a:cubicBezTo>
                    <a:cubicBezTo>
                      <a:pt x="3" y="88"/>
                      <a:pt x="4" y="88"/>
                      <a:pt x="5" y="87"/>
                    </a:cubicBezTo>
                    <a:cubicBezTo>
                      <a:pt x="7" y="85"/>
                      <a:pt x="7" y="86"/>
                      <a:pt x="9" y="86"/>
                    </a:cubicBezTo>
                    <a:cubicBezTo>
                      <a:pt x="10" y="86"/>
                      <a:pt x="11" y="85"/>
                      <a:pt x="12" y="83"/>
                    </a:cubicBezTo>
                    <a:cubicBezTo>
                      <a:pt x="13" y="82"/>
                      <a:pt x="10" y="83"/>
                      <a:pt x="7" y="84"/>
                    </a:cubicBezTo>
                    <a:cubicBezTo>
                      <a:pt x="5" y="84"/>
                      <a:pt x="3" y="83"/>
                      <a:pt x="2" y="84"/>
                    </a:cubicBezTo>
                    <a:cubicBezTo>
                      <a:pt x="0" y="84"/>
                      <a:pt x="2" y="82"/>
                      <a:pt x="4" y="81"/>
                    </a:cubicBezTo>
                    <a:cubicBezTo>
                      <a:pt x="6" y="79"/>
                      <a:pt x="6" y="79"/>
                      <a:pt x="7" y="80"/>
                    </a:cubicBezTo>
                    <a:cubicBezTo>
                      <a:pt x="8" y="81"/>
                      <a:pt x="9" y="78"/>
                      <a:pt x="10" y="79"/>
                    </a:cubicBezTo>
                    <a:cubicBezTo>
                      <a:pt x="10" y="80"/>
                      <a:pt x="11" y="80"/>
                      <a:pt x="12" y="80"/>
                    </a:cubicBezTo>
                    <a:cubicBezTo>
                      <a:pt x="13" y="80"/>
                      <a:pt x="14" y="79"/>
                      <a:pt x="13" y="79"/>
                    </a:cubicBezTo>
                    <a:cubicBezTo>
                      <a:pt x="13" y="78"/>
                      <a:pt x="11" y="78"/>
                      <a:pt x="11" y="77"/>
                    </a:cubicBezTo>
                    <a:cubicBezTo>
                      <a:pt x="11" y="76"/>
                      <a:pt x="13" y="76"/>
                      <a:pt x="15" y="75"/>
                    </a:cubicBezTo>
                    <a:cubicBezTo>
                      <a:pt x="16" y="74"/>
                      <a:pt x="15" y="73"/>
                      <a:pt x="17" y="73"/>
                    </a:cubicBezTo>
                    <a:cubicBezTo>
                      <a:pt x="19" y="73"/>
                      <a:pt x="20" y="74"/>
                      <a:pt x="23" y="73"/>
                    </a:cubicBezTo>
                    <a:cubicBezTo>
                      <a:pt x="25" y="73"/>
                      <a:pt x="27" y="72"/>
                      <a:pt x="29" y="71"/>
                    </a:cubicBezTo>
                    <a:cubicBezTo>
                      <a:pt x="32" y="70"/>
                      <a:pt x="33" y="71"/>
                      <a:pt x="33" y="70"/>
                    </a:cubicBezTo>
                    <a:cubicBezTo>
                      <a:pt x="33" y="68"/>
                      <a:pt x="30" y="69"/>
                      <a:pt x="30" y="68"/>
                    </a:cubicBezTo>
                    <a:cubicBezTo>
                      <a:pt x="30" y="67"/>
                      <a:pt x="27" y="70"/>
                      <a:pt x="25" y="71"/>
                    </a:cubicBezTo>
                    <a:cubicBezTo>
                      <a:pt x="23" y="72"/>
                      <a:pt x="21" y="71"/>
                      <a:pt x="18" y="72"/>
                    </a:cubicBezTo>
                    <a:cubicBezTo>
                      <a:pt x="15" y="72"/>
                      <a:pt x="13" y="73"/>
                      <a:pt x="14" y="72"/>
                    </a:cubicBezTo>
                    <a:cubicBezTo>
                      <a:pt x="15" y="70"/>
                      <a:pt x="16" y="69"/>
                      <a:pt x="19" y="68"/>
                    </a:cubicBezTo>
                    <a:cubicBezTo>
                      <a:pt x="21" y="67"/>
                      <a:pt x="22" y="66"/>
                      <a:pt x="23" y="64"/>
                    </a:cubicBezTo>
                    <a:cubicBezTo>
                      <a:pt x="23" y="62"/>
                      <a:pt x="23" y="61"/>
                      <a:pt x="24" y="60"/>
                    </a:cubicBezTo>
                    <a:cubicBezTo>
                      <a:pt x="26" y="59"/>
                      <a:pt x="27" y="60"/>
                      <a:pt x="29" y="59"/>
                    </a:cubicBezTo>
                    <a:cubicBezTo>
                      <a:pt x="31" y="58"/>
                      <a:pt x="32" y="58"/>
                      <a:pt x="31" y="57"/>
                    </a:cubicBezTo>
                    <a:cubicBezTo>
                      <a:pt x="30" y="56"/>
                      <a:pt x="28" y="56"/>
                      <a:pt x="25" y="56"/>
                    </a:cubicBezTo>
                    <a:cubicBezTo>
                      <a:pt x="23" y="57"/>
                      <a:pt x="21" y="59"/>
                      <a:pt x="21" y="57"/>
                    </a:cubicBezTo>
                    <a:cubicBezTo>
                      <a:pt x="20" y="56"/>
                      <a:pt x="19" y="55"/>
                      <a:pt x="17" y="55"/>
                    </a:cubicBezTo>
                    <a:cubicBezTo>
                      <a:pt x="15" y="56"/>
                      <a:pt x="15" y="55"/>
                      <a:pt x="15" y="53"/>
                    </a:cubicBezTo>
                    <a:cubicBezTo>
                      <a:pt x="15" y="52"/>
                      <a:pt x="14" y="52"/>
                      <a:pt x="13" y="52"/>
                    </a:cubicBezTo>
                    <a:cubicBezTo>
                      <a:pt x="11" y="52"/>
                      <a:pt x="10" y="53"/>
                      <a:pt x="10" y="52"/>
                    </a:cubicBezTo>
                    <a:cubicBezTo>
                      <a:pt x="10" y="51"/>
                      <a:pt x="11" y="51"/>
                      <a:pt x="11" y="50"/>
                    </a:cubicBezTo>
                    <a:cubicBezTo>
                      <a:pt x="11" y="48"/>
                      <a:pt x="13" y="48"/>
                      <a:pt x="14" y="49"/>
                    </a:cubicBezTo>
                    <a:cubicBezTo>
                      <a:pt x="15" y="49"/>
                      <a:pt x="17" y="48"/>
                      <a:pt x="18" y="47"/>
                    </a:cubicBezTo>
                    <a:cubicBezTo>
                      <a:pt x="19" y="47"/>
                      <a:pt x="15" y="46"/>
                      <a:pt x="16" y="45"/>
                    </a:cubicBezTo>
                    <a:cubicBezTo>
                      <a:pt x="17" y="43"/>
                      <a:pt x="18" y="43"/>
                      <a:pt x="19" y="43"/>
                    </a:cubicBezTo>
                    <a:cubicBezTo>
                      <a:pt x="21" y="43"/>
                      <a:pt x="21" y="42"/>
                      <a:pt x="19" y="41"/>
                    </a:cubicBezTo>
                    <a:cubicBezTo>
                      <a:pt x="16" y="39"/>
                      <a:pt x="17" y="37"/>
                      <a:pt x="16" y="35"/>
                    </a:cubicBezTo>
                    <a:cubicBezTo>
                      <a:pt x="15" y="32"/>
                      <a:pt x="13" y="34"/>
                      <a:pt x="14" y="32"/>
                    </a:cubicBezTo>
                    <a:cubicBezTo>
                      <a:pt x="14" y="30"/>
                      <a:pt x="15" y="29"/>
                      <a:pt x="16" y="30"/>
                    </a:cubicBezTo>
                    <a:cubicBezTo>
                      <a:pt x="16" y="32"/>
                      <a:pt x="18" y="32"/>
                      <a:pt x="19" y="32"/>
                    </a:cubicBezTo>
                    <a:cubicBezTo>
                      <a:pt x="21" y="31"/>
                      <a:pt x="20" y="30"/>
                      <a:pt x="22" y="30"/>
                    </a:cubicBezTo>
                    <a:cubicBezTo>
                      <a:pt x="24" y="30"/>
                      <a:pt x="27" y="29"/>
                      <a:pt x="27" y="30"/>
                    </a:cubicBezTo>
                    <a:cubicBezTo>
                      <a:pt x="28" y="32"/>
                      <a:pt x="29" y="35"/>
                      <a:pt x="30" y="34"/>
                    </a:cubicBezTo>
                    <a:cubicBezTo>
                      <a:pt x="31" y="32"/>
                      <a:pt x="30" y="30"/>
                      <a:pt x="33" y="30"/>
                    </a:cubicBezTo>
                    <a:cubicBezTo>
                      <a:pt x="36" y="31"/>
                      <a:pt x="36" y="31"/>
                      <a:pt x="38" y="31"/>
                    </a:cubicBezTo>
                    <a:cubicBezTo>
                      <a:pt x="40" y="31"/>
                      <a:pt x="40" y="30"/>
                      <a:pt x="39" y="29"/>
                    </a:cubicBezTo>
                    <a:cubicBezTo>
                      <a:pt x="38" y="28"/>
                      <a:pt x="38" y="27"/>
                      <a:pt x="40" y="26"/>
                    </a:cubicBezTo>
                    <a:cubicBezTo>
                      <a:pt x="42" y="25"/>
                      <a:pt x="45" y="26"/>
                      <a:pt x="46" y="25"/>
                    </a:cubicBezTo>
                    <a:cubicBezTo>
                      <a:pt x="47" y="23"/>
                      <a:pt x="46" y="22"/>
                      <a:pt x="44" y="22"/>
                    </a:cubicBezTo>
                    <a:cubicBezTo>
                      <a:pt x="43" y="22"/>
                      <a:pt x="41" y="21"/>
                      <a:pt x="39" y="21"/>
                    </a:cubicBezTo>
                    <a:cubicBezTo>
                      <a:pt x="37" y="21"/>
                      <a:pt x="37" y="20"/>
                      <a:pt x="37" y="19"/>
                    </a:cubicBezTo>
                    <a:cubicBezTo>
                      <a:pt x="38" y="18"/>
                      <a:pt x="39" y="17"/>
                      <a:pt x="41" y="17"/>
                    </a:cubicBezTo>
                    <a:cubicBezTo>
                      <a:pt x="42" y="18"/>
                      <a:pt x="41" y="16"/>
                      <a:pt x="42" y="15"/>
                    </a:cubicBezTo>
                    <a:cubicBezTo>
                      <a:pt x="44" y="14"/>
                      <a:pt x="43" y="12"/>
                      <a:pt x="43" y="11"/>
                    </a:cubicBezTo>
                    <a:cubicBezTo>
                      <a:pt x="42" y="10"/>
                      <a:pt x="44" y="10"/>
                      <a:pt x="44" y="9"/>
                    </a:cubicBezTo>
                    <a:cubicBezTo>
                      <a:pt x="45" y="7"/>
                      <a:pt x="45" y="6"/>
                      <a:pt x="46" y="6"/>
                    </a:cubicBezTo>
                    <a:cubicBezTo>
                      <a:pt x="47" y="6"/>
                      <a:pt x="50" y="6"/>
                      <a:pt x="51" y="4"/>
                    </a:cubicBezTo>
                    <a:cubicBezTo>
                      <a:pt x="52" y="3"/>
                      <a:pt x="52" y="5"/>
                      <a:pt x="53" y="6"/>
                    </a:cubicBezTo>
                    <a:cubicBezTo>
                      <a:pt x="54" y="7"/>
                      <a:pt x="55" y="5"/>
                      <a:pt x="55" y="4"/>
                    </a:cubicBezTo>
                    <a:cubicBezTo>
                      <a:pt x="54" y="2"/>
                      <a:pt x="57" y="3"/>
                      <a:pt x="57" y="4"/>
                    </a:cubicBezTo>
                    <a:cubicBezTo>
                      <a:pt x="57" y="4"/>
                      <a:pt x="59" y="6"/>
                      <a:pt x="57" y="8"/>
                    </a:cubicBezTo>
                    <a:cubicBezTo>
                      <a:pt x="55" y="10"/>
                      <a:pt x="56" y="11"/>
                      <a:pt x="57" y="11"/>
                    </a:cubicBezTo>
                    <a:cubicBezTo>
                      <a:pt x="59" y="10"/>
                      <a:pt x="59" y="7"/>
                      <a:pt x="59" y="5"/>
                    </a:cubicBezTo>
                    <a:cubicBezTo>
                      <a:pt x="59" y="2"/>
                      <a:pt x="60" y="2"/>
                      <a:pt x="62" y="2"/>
                    </a:cubicBezTo>
                    <a:cubicBezTo>
                      <a:pt x="63" y="1"/>
                      <a:pt x="64" y="0"/>
                      <a:pt x="65" y="1"/>
                    </a:cubicBezTo>
                    <a:cubicBezTo>
                      <a:pt x="67" y="2"/>
                      <a:pt x="68" y="3"/>
                      <a:pt x="67" y="5"/>
                    </a:cubicBezTo>
                    <a:cubicBezTo>
                      <a:pt x="65" y="6"/>
                      <a:pt x="65" y="8"/>
                      <a:pt x="63" y="8"/>
                    </a:cubicBezTo>
                    <a:cubicBezTo>
                      <a:pt x="62" y="9"/>
                      <a:pt x="61" y="10"/>
                      <a:pt x="60" y="12"/>
                    </a:cubicBezTo>
                    <a:cubicBezTo>
                      <a:pt x="60" y="14"/>
                      <a:pt x="60" y="15"/>
                      <a:pt x="57" y="16"/>
                    </a:cubicBezTo>
                    <a:cubicBezTo>
                      <a:pt x="55" y="18"/>
                      <a:pt x="54" y="17"/>
                      <a:pt x="52" y="19"/>
                    </a:cubicBezTo>
                    <a:cubicBezTo>
                      <a:pt x="51" y="20"/>
                      <a:pt x="54" y="19"/>
                      <a:pt x="53" y="21"/>
                    </a:cubicBezTo>
                    <a:cubicBezTo>
                      <a:pt x="52" y="23"/>
                      <a:pt x="50" y="24"/>
                      <a:pt x="48" y="25"/>
                    </a:cubicBezTo>
                    <a:cubicBezTo>
                      <a:pt x="47" y="26"/>
                      <a:pt x="48" y="26"/>
                      <a:pt x="49" y="28"/>
                    </a:cubicBezTo>
                    <a:cubicBezTo>
                      <a:pt x="51" y="30"/>
                      <a:pt x="52" y="33"/>
                      <a:pt x="53" y="32"/>
                    </a:cubicBezTo>
                    <a:cubicBezTo>
                      <a:pt x="55" y="32"/>
                      <a:pt x="55" y="33"/>
                      <a:pt x="57" y="34"/>
                    </a:cubicBezTo>
                    <a:cubicBezTo>
                      <a:pt x="59" y="35"/>
                      <a:pt x="60" y="35"/>
                      <a:pt x="62" y="33"/>
                    </a:cubicBezTo>
                    <a:cubicBezTo>
                      <a:pt x="63" y="30"/>
                      <a:pt x="63" y="31"/>
                      <a:pt x="64" y="29"/>
                    </a:cubicBezTo>
                    <a:cubicBezTo>
                      <a:pt x="65" y="26"/>
                      <a:pt x="67" y="27"/>
                      <a:pt x="68" y="28"/>
                    </a:cubicBezTo>
                    <a:cubicBezTo>
                      <a:pt x="69" y="29"/>
                      <a:pt x="69" y="33"/>
                      <a:pt x="71" y="33"/>
                    </a:cubicBezTo>
                    <a:cubicBezTo>
                      <a:pt x="73" y="33"/>
                      <a:pt x="72" y="34"/>
                      <a:pt x="73" y="36"/>
                    </a:cubicBezTo>
                    <a:cubicBezTo>
                      <a:pt x="75" y="37"/>
                      <a:pt x="78" y="35"/>
                      <a:pt x="77" y="38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12" name="Gruppieren 297">
                <a:extLst>
                  <a:ext uri="{FF2B5EF4-FFF2-40B4-BE49-F238E27FC236}">
                    <a16:creationId xmlns:a16="http://schemas.microsoft.com/office/drawing/2014/main" id="{7E77B92B-E265-DF42-6604-5D8B0A3DB026}"/>
                  </a:ext>
                </a:extLst>
              </p:cNvPr>
              <p:cNvGrpSpPr/>
              <p:nvPr/>
            </p:nvGrpSpPr>
            <p:grpSpPr bwMode="gray">
              <a:xfrm>
                <a:off x="2219804" y="3342033"/>
                <a:ext cx="680859" cy="1287778"/>
                <a:chOff x="2147889" y="3368675"/>
                <a:chExt cx="701675" cy="1327150"/>
              </a:xfrm>
              <a:grpFill/>
            </p:grpSpPr>
            <p:sp>
              <p:nvSpPr>
                <p:cNvPr id="586" name="Freeform 124">
                  <a:extLst>
                    <a:ext uri="{FF2B5EF4-FFF2-40B4-BE49-F238E27FC236}">
                      <a16:creationId xmlns:a16="http://schemas.microsoft.com/office/drawing/2014/main" id="{49BD7B24-494E-AE45-83A5-B72A0FB0A7A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147889" y="4152900"/>
                  <a:ext cx="192088" cy="146050"/>
                </a:xfrm>
                <a:custGeom>
                  <a:avLst/>
                  <a:gdLst>
                    <a:gd name="T0" fmla="*/ 17 w 46"/>
                    <a:gd name="T1" fmla="*/ 4 h 35"/>
                    <a:gd name="T2" fmla="*/ 18 w 46"/>
                    <a:gd name="T3" fmla="*/ 6 h 35"/>
                    <a:gd name="T4" fmla="*/ 22 w 46"/>
                    <a:gd name="T5" fmla="*/ 2 h 35"/>
                    <a:gd name="T6" fmla="*/ 27 w 46"/>
                    <a:gd name="T7" fmla="*/ 1 h 35"/>
                    <a:gd name="T8" fmla="*/ 33 w 46"/>
                    <a:gd name="T9" fmla="*/ 0 h 35"/>
                    <a:gd name="T10" fmla="*/ 37 w 46"/>
                    <a:gd name="T11" fmla="*/ 4 h 35"/>
                    <a:gd name="T12" fmla="*/ 40 w 46"/>
                    <a:gd name="T13" fmla="*/ 9 h 35"/>
                    <a:gd name="T14" fmla="*/ 42 w 46"/>
                    <a:gd name="T15" fmla="*/ 12 h 35"/>
                    <a:gd name="T16" fmla="*/ 42 w 46"/>
                    <a:gd name="T17" fmla="*/ 14 h 35"/>
                    <a:gd name="T18" fmla="*/ 41 w 46"/>
                    <a:gd name="T19" fmla="*/ 16 h 35"/>
                    <a:gd name="T20" fmla="*/ 45 w 46"/>
                    <a:gd name="T21" fmla="*/ 16 h 35"/>
                    <a:gd name="T22" fmla="*/ 46 w 46"/>
                    <a:gd name="T23" fmla="*/ 20 h 35"/>
                    <a:gd name="T24" fmla="*/ 45 w 46"/>
                    <a:gd name="T25" fmla="*/ 23 h 35"/>
                    <a:gd name="T26" fmla="*/ 44 w 46"/>
                    <a:gd name="T27" fmla="*/ 20 h 35"/>
                    <a:gd name="T28" fmla="*/ 42 w 46"/>
                    <a:gd name="T29" fmla="*/ 22 h 35"/>
                    <a:gd name="T30" fmla="*/ 43 w 46"/>
                    <a:gd name="T31" fmla="*/ 24 h 35"/>
                    <a:gd name="T32" fmla="*/ 44 w 46"/>
                    <a:gd name="T33" fmla="*/ 26 h 35"/>
                    <a:gd name="T34" fmla="*/ 41 w 46"/>
                    <a:gd name="T35" fmla="*/ 27 h 35"/>
                    <a:gd name="T36" fmla="*/ 39 w 46"/>
                    <a:gd name="T37" fmla="*/ 29 h 35"/>
                    <a:gd name="T38" fmla="*/ 35 w 46"/>
                    <a:gd name="T39" fmla="*/ 32 h 35"/>
                    <a:gd name="T40" fmla="*/ 32 w 46"/>
                    <a:gd name="T41" fmla="*/ 32 h 35"/>
                    <a:gd name="T42" fmla="*/ 31 w 46"/>
                    <a:gd name="T43" fmla="*/ 34 h 35"/>
                    <a:gd name="T44" fmla="*/ 30 w 46"/>
                    <a:gd name="T45" fmla="*/ 35 h 35"/>
                    <a:gd name="T46" fmla="*/ 30 w 46"/>
                    <a:gd name="T47" fmla="*/ 35 h 35"/>
                    <a:gd name="T48" fmla="*/ 30 w 46"/>
                    <a:gd name="T49" fmla="*/ 34 h 35"/>
                    <a:gd name="T50" fmla="*/ 26 w 46"/>
                    <a:gd name="T51" fmla="*/ 32 h 35"/>
                    <a:gd name="T52" fmla="*/ 24 w 46"/>
                    <a:gd name="T53" fmla="*/ 29 h 35"/>
                    <a:gd name="T54" fmla="*/ 21 w 46"/>
                    <a:gd name="T55" fmla="*/ 24 h 35"/>
                    <a:gd name="T56" fmla="*/ 17 w 46"/>
                    <a:gd name="T57" fmla="*/ 25 h 35"/>
                    <a:gd name="T58" fmla="*/ 15 w 46"/>
                    <a:gd name="T59" fmla="*/ 29 h 35"/>
                    <a:gd name="T60" fmla="*/ 10 w 46"/>
                    <a:gd name="T61" fmla="*/ 30 h 35"/>
                    <a:gd name="T62" fmla="*/ 6 w 46"/>
                    <a:gd name="T63" fmla="*/ 28 h 35"/>
                    <a:gd name="T64" fmla="*/ 2 w 46"/>
                    <a:gd name="T65" fmla="*/ 24 h 35"/>
                    <a:gd name="T66" fmla="*/ 1 w 46"/>
                    <a:gd name="T67" fmla="*/ 21 h 35"/>
                    <a:gd name="T68" fmla="*/ 6 w 46"/>
                    <a:gd name="T69" fmla="*/ 17 h 35"/>
                    <a:gd name="T70" fmla="*/ 5 w 46"/>
                    <a:gd name="T71" fmla="*/ 15 h 35"/>
                    <a:gd name="T72" fmla="*/ 10 w 46"/>
                    <a:gd name="T73" fmla="*/ 12 h 35"/>
                    <a:gd name="T74" fmla="*/ 13 w 46"/>
                    <a:gd name="T75" fmla="*/ 8 h 35"/>
                    <a:gd name="T76" fmla="*/ 16 w 46"/>
                    <a:gd name="T77" fmla="*/ 4 h 35"/>
                    <a:gd name="T78" fmla="*/ 17 w 46"/>
                    <a:gd name="T79" fmla="*/ 4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6" h="35">
                      <a:moveTo>
                        <a:pt x="17" y="4"/>
                      </a:moveTo>
                      <a:cubicBezTo>
                        <a:pt x="17" y="4"/>
                        <a:pt x="17" y="6"/>
                        <a:pt x="18" y="6"/>
                      </a:cubicBezTo>
                      <a:cubicBezTo>
                        <a:pt x="20" y="5"/>
                        <a:pt x="21" y="4"/>
                        <a:pt x="22" y="2"/>
                      </a:cubicBezTo>
                      <a:cubicBezTo>
                        <a:pt x="23" y="1"/>
                        <a:pt x="25" y="1"/>
                        <a:pt x="27" y="1"/>
                      </a:cubicBezTo>
                      <a:cubicBezTo>
                        <a:pt x="29" y="1"/>
                        <a:pt x="31" y="0"/>
                        <a:pt x="33" y="0"/>
                      </a:cubicBezTo>
                      <a:cubicBezTo>
                        <a:pt x="35" y="0"/>
                        <a:pt x="37" y="2"/>
                        <a:pt x="37" y="4"/>
                      </a:cubicBezTo>
                      <a:cubicBezTo>
                        <a:pt x="37" y="6"/>
                        <a:pt x="39" y="9"/>
                        <a:pt x="40" y="9"/>
                      </a:cubicBezTo>
                      <a:cubicBezTo>
                        <a:pt x="41" y="10"/>
                        <a:pt x="42" y="12"/>
                        <a:pt x="42" y="12"/>
                      </a:cubicBezTo>
                      <a:cubicBezTo>
                        <a:pt x="43" y="13"/>
                        <a:pt x="43" y="13"/>
                        <a:pt x="42" y="14"/>
                      </a:cubicBezTo>
                      <a:cubicBezTo>
                        <a:pt x="41" y="15"/>
                        <a:pt x="40" y="16"/>
                        <a:pt x="41" y="16"/>
                      </a:cubicBezTo>
                      <a:cubicBezTo>
                        <a:pt x="42" y="16"/>
                        <a:pt x="44" y="15"/>
                        <a:pt x="45" y="16"/>
                      </a:cubicBezTo>
                      <a:cubicBezTo>
                        <a:pt x="45" y="17"/>
                        <a:pt x="46" y="18"/>
                        <a:pt x="46" y="20"/>
                      </a:cubicBezTo>
                      <a:cubicBezTo>
                        <a:pt x="46" y="22"/>
                        <a:pt x="46" y="24"/>
                        <a:pt x="45" y="23"/>
                      </a:cubicBezTo>
                      <a:cubicBezTo>
                        <a:pt x="44" y="22"/>
                        <a:pt x="45" y="21"/>
                        <a:pt x="44" y="20"/>
                      </a:cubicBezTo>
                      <a:cubicBezTo>
                        <a:pt x="43" y="19"/>
                        <a:pt x="42" y="20"/>
                        <a:pt x="42" y="22"/>
                      </a:cubicBezTo>
                      <a:cubicBezTo>
                        <a:pt x="42" y="23"/>
                        <a:pt x="42" y="23"/>
                        <a:pt x="43" y="24"/>
                      </a:cubicBezTo>
                      <a:cubicBezTo>
                        <a:pt x="45" y="25"/>
                        <a:pt x="45" y="25"/>
                        <a:pt x="44" y="26"/>
                      </a:cubicBezTo>
                      <a:cubicBezTo>
                        <a:pt x="44" y="27"/>
                        <a:pt x="42" y="27"/>
                        <a:pt x="41" y="27"/>
                      </a:cubicBezTo>
                      <a:cubicBezTo>
                        <a:pt x="40" y="27"/>
                        <a:pt x="40" y="27"/>
                        <a:pt x="39" y="29"/>
                      </a:cubicBezTo>
                      <a:cubicBezTo>
                        <a:pt x="37" y="32"/>
                        <a:pt x="37" y="32"/>
                        <a:pt x="35" y="32"/>
                      </a:cubicBezTo>
                      <a:cubicBezTo>
                        <a:pt x="34" y="32"/>
                        <a:pt x="33" y="30"/>
                        <a:pt x="32" y="32"/>
                      </a:cubicBezTo>
                      <a:cubicBezTo>
                        <a:pt x="32" y="33"/>
                        <a:pt x="33" y="34"/>
                        <a:pt x="31" y="34"/>
                      </a:cubicBezTo>
                      <a:cubicBezTo>
                        <a:pt x="30" y="34"/>
                        <a:pt x="30" y="35"/>
                        <a:pt x="30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30" y="35"/>
                        <a:pt x="30" y="34"/>
                        <a:pt x="30" y="34"/>
                      </a:cubicBezTo>
                      <a:cubicBezTo>
                        <a:pt x="31" y="33"/>
                        <a:pt x="28" y="33"/>
                        <a:pt x="26" y="32"/>
                      </a:cubicBezTo>
                      <a:cubicBezTo>
                        <a:pt x="25" y="30"/>
                        <a:pt x="26" y="29"/>
                        <a:pt x="24" y="29"/>
                      </a:cubicBezTo>
                      <a:cubicBezTo>
                        <a:pt x="22" y="29"/>
                        <a:pt x="22" y="25"/>
                        <a:pt x="21" y="24"/>
                      </a:cubicBezTo>
                      <a:cubicBezTo>
                        <a:pt x="20" y="23"/>
                        <a:pt x="18" y="22"/>
                        <a:pt x="17" y="25"/>
                      </a:cubicBezTo>
                      <a:cubicBezTo>
                        <a:pt x="16" y="27"/>
                        <a:pt x="16" y="26"/>
                        <a:pt x="15" y="29"/>
                      </a:cubicBezTo>
                      <a:cubicBezTo>
                        <a:pt x="13" y="31"/>
                        <a:pt x="12" y="31"/>
                        <a:pt x="10" y="30"/>
                      </a:cubicBezTo>
                      <a:cubicBezTo>
                        <a:pt x="8" y="29"/>
                        <a:pt x="8" y="28"/>
                        <a:pt x="6" y="28"/>
                      </a:cubicBezTo>
                      <a:cubicBezTo>
                        <a:pt x="5" y="29"/>
                        <a:pt x="4" y="26"/>
                        <a:pt x="2" y="24"/>
                      </a:cubicBezTo>
                      <a:cubicBezTo>
                        <a:pt x="1" y="22"/>
                        <a:pt x="0" y="22"/>
                        <a:pt x="1" y="21"/>
                      </a:cubicBezTo>
                      <a:cubicBezTo>
                        <a:pt x="3" y="20"/>
                        <a:pt x="5" y="19"/>
                        <a:pt x="6" y="17"/>
                      </a:cubicBezTo>
                      <a:cubicBezTo>
                        <a:pt x="7" y="15"/>
                        <a:pt x="4" y="16"/>
                        <a:pt x="5" y="15"/>
                      </a:cubicBezTo>
                      <a:cubicBezTo>
                        <a:pt x="7" y="13"/>
                        <a:pt x="8" y="14"/>
                        <a:pt x="10" y="12"/>
                      </a:cubicBezTo>
                      <a:cubicBezTo>
                        <a:pt x="13" y="11"/>
                        <a:pt x="13" y="10"/>
                        <a:pt x="13" y="8"/>
                      </a:cubicBezTo>
                      <a:cubicBezTo>
                        <a:pt x="14" y="6"/>
                        <a:pt x="15" y="5"/>
                        <a:pt x="16" y="4"/>
                      </a:cubicBezTo>
                      <a:cubicBezTo>
                        <a:pt x="16" y="4"/>
                        <a:pt x="17" y="4"/>
                        <a:pt x="17" y="4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7" name="Freeform 125">
                  <a:extLst>
                    <a:ext uri="{FF2B5EF4-FFF2-40B4-BE49-F238E27FC236}">
                      <a16:creationId xmlns:a16="http://schemas.microsoft.com/office/drawing/2014/main" id="{6C67DA71-95DE-8622-DA4F-4EA91E7D52D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81251" y="4249738"/>
                  <a:ext cx="38100" cy="38100"/>
                </a:xfrm>
                <a:custGeom>
                  <a:avLst/>
                  <a:gdLst>
                    <a:gd name="T0" fmla="*/ 7 w 9"/>
                    <a:gd name="T1" fmla="*/ 1 h 9"/>
                    <a:gd name="T2" fmla="*/ 4 w 9"/>
                    <a:gd name="T3" fmla="*/ 4 h 9"/>
                    <a:gd name="T4" fmla="*/ 2 w 9"/>
                    <a:gd name="T5" fmla="*/ 8 h 9"/>
                    <a:gd name="T6" fmla="*/ 8 w 9"/>
                    <a:gd name="T7" fmla="*/ 5 h 9"/>
                    <a:gd name="T8" fmla="*/ 7 w 9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9">
                      <a:moveTo>
                        <a:pt x="7" y="1"/>
                      </a:moveTo>
                      <a:cubicBezTo>
                        <a:pt x="6" y="0"/>
                        <a:pt x="5" y="2"/>
                        <a:pt x="4" y="4"/>
                      </a:cubicBezTo>
                      <a:cubicBezTo>
                        <a:pt x="3" y="6"/>
                        <a:pt x="0" y="8"/>
                        <a:pt x="2" y="8"/>
                      </a:cubicBezTo>
                      <a:cubicBezTo>
                        <a:pt x="4" y="9"/>
                        <a:pt x="7" y="7"/>
                        <a:pt x="8" y="5"/>
                      </a:cubicBezTo>
                      <a:cubicBezTo>
                        <a:pt x="9" y="3"/>
                        <a:pt x="8" y="1"/>
                        <a:pt x="7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8" name="Freeform 126">
                  <a:extLst>
                    <a:ext uri="{FF2B5EF4-FFF2-40B4-BE49-F238E27FC236}">
                      <a16:creationId xmlns:a16="http://schemas.microsoft.com/office/drawing/2014/main" id="{F824146A-EA3D-39BC-9160-05418AA87E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90764" y="3698875"/>
                  <a:ext cx="558800" cy="996950"/>
                </a:xfrm>
                <a:custGeom>
                  <a:avLst/>
                  <a:gdLst>
                    <a:gd name="T0" fmla="*/ 36 w 134"/>
                    <a:gd name="T1" fmla="*/ 232 h 239"/>
                    <a:gd name="T2" fmla="*/ 24 w 134"/>
                    <a:gd name="T3" fmla="*/ 230 h 239"/>
                    <a:gd name="T4" fmla="*/ 8 w 134"/>
                    <a:gd name="T5" fmla="*/ 238 h 239"/>
                    <a:gd name="T6" fmla="*/ 8 w 134"/>
                    <a:gd name="T7" fmla="*/ 231 h 239"/>
                    <a:gd name="T8" fmla="*/ 21 w 134"/>
                    <a:gd name="T9" fmla="*/ 215 h 239"/>
                    <a:gd name="T10" fmla="*/ 46 w 134"/>
                    <a:gd name="T11" fmla="*/ 210 h 239"/>
                    <a:gd name="T12" fmla="*/ 54 w 134"/>
                    <a:gd name="T13" fmla="*/ 201 h 239"/>
                    <a:gd name="T14" fmla="*/ 34 w 134"/>
                    <a:gd name="T15" fmla="*/ 200 h 239"/>
                    <a:gd name="T16" fmla="*/ 26 w 134"/>
                    <a:gd name="T17" fmla="*/ 198 h 239"/>
                    <a:gd name="T18" fmla="*/ 18 w 134"/>
                    <a:gd name="T19" fmla="*/ 196 h 239"/>
                    <a:gd name="T20" fmla="*/ 20 w 134"/>
                    <a:gd name="T21" fmla="*/ 189 h 239"/>
                    <a:gd name="T22" fmla="*/ 33 w 134"/>
                    <a:gd name="T23" fmla="*/ 175 h 239"/>
                    <a:gd name="T24" fmla="*/ 22 w 134"/>
                    <a:gd name="T25" fmla="*/ 171 h 239"/>
                    <a:gd name="T26" fmla="*/ 29 w 134"/>
                    <a:gd name="T27" fmla="*/ 158 h 239"/>
                    <a:gd name="T28" fmla="*/ 41 w 134"/>
                    <a:gd name="T29" fmla="*/ 161 h 239"/>
                    <a:gd name="T30" fmla="*/ 53 w 134"/>
                    <a:gd name="T31" fmla="*/ 159 h 239"/>
                    <a:gd name="T32" fmla="*/ 54 w 134"/>
                    <a:gd name="T33" fmla="*/ 151 h 239"/>
                    <a:gd name="T34" fmla="*/ 54 w 134"/>
                    <a:gd name="T35" fmla="*/ 138 h 239"/>
                    <a:gd name="T36" fmla="*/ 45 w 134"/>
                    <a:gd name="T37" fmla="*/ 130 h 239"/>
                    <a:gd name="T38" fmla="*/ 54 w 134"/>
                    <a:gd name="T39" fmla="*/ 116 h 239"/>
                    <a:gd name="T40" fmla="*/ 36 w 134"/>
                    <a:gd name="T41" fmla="*/ 121 h 239"/>
                    <a:gd name="T42" fmla="*/ 23 w 134"/>
                    <a:gd name="T43" fmla="*/ 119 h 239"/>
                    <a:gd name="T44" fmla="*/ 19 w 134"/>
                    <a:gd name="T45" fmla="*/ 117 h 239"/>
                    <a:gd name="T46" fmla="*/ 27 w 134"/>
                    <a:gd name="T47" fmla="*/ 101 h 239"/>
                    <a:gd name="T48" fmla="*/ 24 w 134"/>
                    <a:gd name="T49" fmla="*/ 82 h 239"/>
                    <a:gd name="T50" fmla="*/ 22 w 134"/>
                    <a:gd name="T51" fmla="*/ 94 h 239"/>
                    <a:gd name="T52" fmla="*/ 15 w 134"/>
                    <a:gd name="T53" fmla="*/ 86 h 239"/>
                    <a:gd name="T54" fmla="*/ 19 w 134"/>
                    <a:gd name="T55" fmla="*/ 72 h 239"/>
                    <a:gd name="T56" fmla="*/ 19 w 134"/>
                    <a:gd name="T57" fmla="*/ 61 h 239"/>
                    <a:gd name="T58" fmla="*/ 11 w 134"/>
                    <a:gd name="T59" fmla="*/ 65 h 239"/>
                    <a:gd name="T60" fmla="*/ 11 w 134"/>
                    <a:gd name="T61" fmla="*/ 55 h 239"/>
                    <a:gd name="T62" fmla="*/ 12 w 134"/>
                    <a:gd name="T63" fmla="*/ 50 h 239"/>
                    <a:gd name="T64" fmla="*/ 14 w 134"/>
                    <a:gd name="T65" fmla="*/ 43 h 239"/>
                    <a:gd name="T66" fmla="*/ 9 w 134"/>
                    <a:gd name="T67" fmla="*/ 34 h 239"/>
                    <a:gd name="T68" fmla="*/ 20 w 134"/>
                    <a:gd name="T69" fmla="*/ 26 h 239"/>
                    <a:gd name="T70" fmla="*/ 20 w 134"/>
                    <a:gd name="T71" fmla="*/ 13 h 239"/>
                    <a:gd name="T72" fmla="*/ 24 w 134"/>
                    <a:gd name="T73" fmla="*/ 1 h 239"/>
                    <a:gd name="T74" fmla="*/ 39 w 134"/>
                    <a:gd name="T75" fmla="*/ 3 h 239"/>
                    <a:gd name="T76" fmla="*/ 56 w 134"/>
                    <a:gd name="T77" fmla="*/ 4 h 239"/>
                    <a:gd name="T78" fmla="*/ 38 w 134"/>
                    <a:gd name="T79" fmla="*/ 27 h 239"/>
                    <a:gd name="T80" fmla="*/ 34 w 134"/>
                    <a:gd name="T81" fmla="*/ 34 h 239"/>
                    <a:gd name="T82" fmla="*/ 42 w 134"/>
                    <a:gd name="T83" fmla="*/ 36 h 239"/>
                    <a:gd name="T84" fmla="*/ 70 w 134"/>
                    <a:gd name="T85" fmla="*/ 32 h 239"/>
                    <a:gd name="T86" fmla="*/ 69 w 134"/>
                    <a:gd name="T87" fmla="*/ 59 h 239"/>
                    <a:gd name="T88" fmla="*/ 53 w 134"/>
                    <a:gd name="T89" fmla="*/ 75 h 239"/>
                    <a:gd name="T90" fmla="*/ 56 w 134"/>
                    <a:gd name="T91" fmla="*/ 81 h 239"/>
                    <a:gd name="T92" fmla="*/ 54 w 134"/>
                    <a:gd name="T93" fmla="*/ 88 h 239"/>
                    <a:gd name="T94" fmla="*/ 75 w 134"/>
                    <a:gd name="T95" fmla="*/ 97 h 239"/>
                    <a:gd name="T96" fmla="*/ 90 w 134"/>
                    <a:gd name="T97" fmla="*/ 128 h 239"/>
                    <a:gd name="T98" fmla="*/ 107 w 134"/>
                    <a:gd name="T99" fmla="*/ 153 h 239"/>
                    <a:gd name="T100" fmla="*/ 100 w 134"/>
                    <a:gd name="T101" fmla="*/ 150 h 239"/>
                    <a:gd name="T102" fmla="*/ 107 w 134"/>
                    <a:gd name="T103" fmla="*/ 171 h 239"/>
                    <a:gd name="T104" fmla="*/ 134 w 134"/>
                    <a:gd name="T105" fmla="*/ 178 h 239"/>
                    <a:gd name="T106" fmla="*/ 122 w 134"/>
                    <a:gd name="T107" fmla="*/ 193 h 239"/>
                    <a:gd name="T108" fmla="*/ 118 w 134"/>
                    <a:gd name="T109" fmla="*/ 199 h 239"/>
                    <a:gd name="T110" fmla="*/ 113 w 134"/>
                    <a:gd name="T111" fmla="*/ 203 h 239"/>
                    <a:gd name="T112" fmla="*/ 119 w 134"/>
                    <a:gd name="T113" fmla="*/ 206 h 239"/>
                    <a:gd name="T114" fmla="*/ 118 w 134"/>
                    <a:gd name="T115" fmla="*/ 216 h 239"/>
                    <a:gd name="T116" fmla="*/ 86 w 134"/>
                    <a:gd name="T117" fmla="*/ 220 h 239"/>
                    <a:gd name="T118" fmla="*/ 76 w 134"/>
                    <a:gd name="T119" fmla="*/ 220 h 239"/>
                    <a:gd name="T120" fmla="*/ 73 w 134"/>
                    <a:gd name="T121" fmla="*/ 221 h 239"/>
                    <a:gd name="T122" fmla="*/ 59 w 134"/>
                    <a:gd name="T123" fmla="*/ 223 h 2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34" h="239">
                      <a:moveTo>
                        <a:pt x="45" y="222"/>
                      </a:moveTo>
                      <a:cubicBezTo>
                        <a:pt x="43" y="223"/>
                        <a:pt x="43" y="224"/>
                        <a:pt x="42" y="224"/>
                      </a:cubicBezTo>
                      <a:cubicBezTo>
                        <a:pt x="41" y="223"/>
                        <a:pt x="41" y="222"/>
                        <a:pt x="40" y="223"/>
                      </a:cubicBezTo>
                      <a:cubicBezTo>
                        <a:pt x="40" y="224"/>
                        <a:pt x="40" y="225"/>
                        <a:pt x="39" y="227"/>
                      </a:cubicBezTo>
                      <a:cubicBezTo>
                        <a:pt x="38" y="229"/>
                        <a:pt x="37" y="231"/>
                        <a:pt x="36" y="232"/>
                      </a:cubicBezTo>
                      <a:cubicBezTo>
                        <a:pt x="35" y="233"/>
                        <a:pt x="34" y="234"/>
                        <a:pt x="33" y="233"/>
                      </a:cubicBezTo>
                      <a:cubicBezTo>
                        <a:pt x="33" y="231"/>
                        <a:pt x="32" y="232"/>
                        <a:pt x="30" y="231"/>
                      </a:cubicBezTo>
                      <a:cubicBezTo>
                        <a:pt x="29" y="231"/>
                        <a:pt x="28" y="231"/>
                        <a:pt x="28" y="230"/>
                      </a:cubicBezTo>
                      <a:cubicBezTo>
                        <a:pt x="27" y="228"/>
                        <a:pt x="28" y="228"/>
                        <a:pt x="27" y="228"/>
                      </a:cubicBezTo>
                      <a:cubicBezTo>
                        <a:pt x="26" y="228"/>
                        <a:pt x="25" y="230"/>
                        <a:pt x="24" y="230"/>
                      </a:cubicBezTo>
                      <a:cubicBezTo>
                        <a:pt x="23" y="230"/>
                        <a:pt x="20" y="231"/>
                        <a:pt x="19" y="231"/>
                      </a:cubicBezTo>
                      <a:cubicBezTo>
                        <a:pt x="17" y="231"/>
                        <a:pt x="16" y="232"/>
                        <a:pt x="15" y="233"/>
                      </a:cubicBezTo>
                      <a:cubicBezTo>
                        <a:pt x="13" y="234"/>
                        <a:pt x="12" y="235"/>
                        <a:pt x="11" y="236"/>
                      </a:cubicBezTo>
                      <a:cubicBezTo>
                        <a:pt x="10" y="237"/>
                        <a:pt x="11" y="237"/>
                        <a:pt x="10" y="238"/>
                      </a:cubicBezTo>
                      <a:cubicBezTo>
                        <a:pt x="9" y="239"/>
                        <a:pt x="9" y="239"/>
                        <a:pt x="8" y="238"/>
                      </a:cubicBezTo>
                      <a:cubicBezTo>
                        <a:pt x="6" y="237"/>
                        <a:pt x="6" y="235"/>
                        <a:pt x="5" y="235"/>
                      </a:cubicBezTo>
                      <a:cubicBezTo>
                        <a:pt x="4" y="236"/>
                        <a:pt x="2" y="236"/>
                        <a:pt x="1" y="237"/>
                      </a:cubicBezTo>
                      <a:cubicBezTo>
                        <a:pt x="0" y="237"/>
                        <a:pt x="0" y="236"/>
                        <a:pt x="0" y="235"/>
                      </a:cubicBezTo>
                      <a:cubicBezTo>
                        <a:pt x="1" y="233"/>
                        <a:pt x="3" y="233"/>
                        <a:pt x="4" y="233"/>
                      </a:cubicBezTo>
                      <a:cubicBezTo>
                        <a:pt x="5" y="232"/>
                        <a:pt x="7" y="232"/>
                        <a:pt x="8" y="231"/>
                      </a:cubicBezTo>
                      <a:cubicBezTo>
                        <a:pt x="9" y="230"/>
                        <a:pt x="11" y="228"/>
                        <a:pt x="12" y="227"/>
                      </a:cubicBezTo>
                      <a:cubicBezTo>
                        <a:pt x="12" y="226"/>
                        <a:pt x="14" y="225"/>
                        <a:pt x="14" y="226"/>
                      </a:cubicBezTo>
                      <a:cubicBezTo>
                        <a:pt x="15" y="226"/>
                        <a:pt x="16" y="224"/>
                        <a:pt x="17" y="223"/>
                      </a:cubicBezTo>
                      <a:cubicBezTo>
                        <a:pt x="19" y="222"/>
                        <a:pt x="20" y="220"/>
                        <a:pt x="21" y="219"/>
                      </a:cubicBezTo>
                      <a:cubicBezTo>
                        <a:pt x="21" y="217"/>
                        <a:pt x="21" y="216"/>
                        <a:pt x="21" y="215"/>
                      </a:cubicBezTo>
                      <a:cubicBezTo>
                        <a:pt x="22" y="213"/>
                        <a:pt x="23" y="214"/>
                        <a:pt x="24" y="215"/>
                      </a:cubicBezTo>
                      <a:cubicBezTo>
                        <a:pt x="24" y="215"/>
                        <a:pt x="27" y="214"/>
                        <a:pt x="27" y="213"/>
                      </a:cubicBezTo>
                      <a:cubicBezTo>
                        <a:pt x="28" y="212"/>
                        <a:pt x="29" y="210"/>
                        <a:pt x="30" y="209"/>
                      </a:cubicBezTo>
                      <a:cubicBezTo>
                        <a:pt x="32" y="209"/>
                        <a:pt x="34" y="210"/>
                        <a:pt x="38" y="209"/>
                      </a:cubicBezTo>
                      <a:cubicBezTo>
                        <a:pt x="42" y="208"/>
                        <a:pt x="44" y="210"/>
                        <a:pt x="46" y="210"/>
                      </a:cubicBezTo>
                      <a:cubicBezTo>
                        <a:pt x="47" y="209"/>
                        <a:pt x="50" y="207"/>
                        <a:pt x="51" y="205"/>
                      </a:cubicBezTo>
                      <a:cubicBezTo>
                        <a:pt x="53" y="204"/>
                        <a:pt x="54" y="203"/>
                        <a:pt x="55" y="202"/>
                      </a:cubicBezTo>
                      <a:cubicBezTo>
                        <a:pt x="57" y="201"/>
                        <a:pt x="58" y="199"/>
                        <a:pt x="60" y="198"/>
                      </a:cubicBezTo>
                      <a:cubicBezTo>
                        <a:pt x="61" y="196"/>
                        <a:pt x="59" y="196"/>
                        <a:pt x="58" y="197"/>
                      </a:cubicBezTo>
                      <a:cubicBezTo>
                        <a:pt x="57" y="199"/>
                        <a:pt x="55" y="201"/>
                        <a:pt x="54" y="201"/>
                      </a:cubicBezTo>
                      <a:cubicBezTo>
                        <a:pt x="53" y="202"/>
                        <a:pt x="51" y="201"/>
                        <a:pt x="50" y="202"/>
                      </a:cubicBezTo>
                      <a:cubicBezTo>
                        <a:pt x="49" y="202"/>
                        <a:pt x="48" y="203"/>
                        <a:pt x="46" y="205"/>
                      </a:cubicBezTo>
                      <a:cubicBezTo>
                        <a:pt x="44" y="206"/>
                        <a:pt x="42" y="207"/>
                        <a:pt x="41" y="206"/>
                      </a:cubicBezTo>
                      <a:cubicBezTo>
                        <a:pt x="39" y="204"/>
                        <a:pt x="37" y="202"/>
                        <a:pt x="36" y="201"/>
                      </a:cubicBezTo>
                      <a:cubicBezTo>
                        <a:pt x="35" y="200"/>
                        <a:pt x="36" y="199"/>
                        <a:pt x="34" y="200"/>
                      </a:cubicBezTo>
                      <a:cubicBezTo>
                        <a:pt x="32" y="201"/>
                        <a:pt x="31" y="202"/>
                        <a:pt x="30" y="202"/>
                      </a:cubicBezTo>
                      <a:cubicBezTo>
                        <a:pt x="28" y="202"/>
                        <a:pt x="28" y="201"/>
                        <a:pt x="29" y="200"/>
                      </a:cubicBezTo>
                      <a:cubicBezTo>
                        <a:pt x="29" y="200"/>
                        <a:pt x="32" y="198"/>
                        <a:pt x="31" y="198"/>
                      </a:cubicBezTo>
                      <a:cubicBezTo>
                        <a:pt x="30" y="198"/>
                        <a:pt x="29" y="200"/>
                        <a:pt x="28" y="199"/>
                      </a:cubicBezTo>
                      <a:cubicBezTo>
                        <a:pt x="27" y="199"/>
                        <a:pt x="27" y="199"/>
                        <a:pt x="26" y="198"/>
                      </a:cubicBezTo>
                      <a:cubicBezTo>
                        <a:pt x="26" y="197"/>
                        <a:pt x="26" y="196"/>
                        <a:pt x="25" y="196"/>
                      </a:cubicBezTo>
                      <a:cubicBezTo>
                        <a:pt x="25" y="196"/>
                        <a:pt x="24" y="197"/>
                        <a:pt x="23" y="197"/>
                      </a:cubicBezTo>
                      <a:cubicBezTo>
                        <a:pt x="22" y="197"/>
                        <a:pt x="21" y="199"/>
                        <a:pt x="19" y="200"/>
                      </a:cubicBezTo>
                      <a:cubicBezTo>
                        <a:pt x="17" y="200"/>
                        <a:pt x="14" y="201"/>
                        <a:pt x="15" y="200"/>
                      </a:cubicBezTo>
                      <a:cubicBezTo>
                        <a:pt x="15" y="199"/>
                        <a:pt x="19" y="196"/>
                        <a:pt x="18" y="196"/>
                      </a:cubicBezTo>
                      <a:cubicBezTo>
                        <a:pt x="17" y="197"/>
                        <a:pt x="16" y="198"/>
                        <a:pt x="14" y="198"/>
                      </a:cubicBezTo>
                      <a:cubicBezTo>
                        <a:pt x="13" y="199"/>
                        <a:pt x="12" y="197"/>
                        <a:pt x="12" y="196"/>
                      </a:cubicBezTo>
                      <a:cubicBezTo>
                        <a:pt x="13" y="195"/>
                        <a:pt x="12" y="195"/>
                        <a:pt x="11" y="194"/>
                      </a:cubicBezTo>
                      <a:cubicBezTo>
                        <a:pt x="11" y="193"/>
                        <a:pt x="12" y="192"/>
                        <a:pt x="14" y="191"/>
                      </a:cubicBezTo>
                      <a:cubicBezTo>
                        <a:pt x="16" y="190"/>
                        <a:pt x="18" y="190"/>
                        <a:pt x="20" y="189"/>
                      </a:cubicBezTo>
                      <a:cubicBezTo>
                        <a:pt x="21" y="189"/>
                        <a:pt x="25" y="188"/>
                        <a:pt x="27" y="187"/>
                      </a:cubicBezTo>
                      <a:cubicBezTo>
                        <a:pt x="29" y="185"/>
                        <a:pt x="31" y="184"/>
                        <a:pt x="32" y="182"/>
                      </a:cubicBezTo>
                      <a:cubicBezTo>
                        <a:pt x="32" y="181"/>
                        <a:pt x="33" y="180"/>
                        <a:pt x="34" y="179"/>
                      </a:cubicBezTo>
                      <a:cubicBezTo>
                        <a:pt x="35" y="178"/>
                        <a:pt x="33" y="179"/>
                        <a:pt x="33" y="178"/>
                      </a:cubicBezTo>
                      <a:cubicBezTo>
                        <a:pt x="32" y="177"/>
                        <a:pt x="32" y="176"/>
                        <a:pt x="33" y="175"/>
                      </a:cubicBezTo>
                      <a:cubicBezTo>
                        <a:pt x="34" y="174"/>
                        <a:pt x="33" y="174"/>
                        <a:pt x="32" y="173"/>
                      </a:cubicBezTo>
                      <a:cubicBezTo>
                        <a:pt x="32" y="173"/>
                        <a:pt x="32" y="172"/>
                        <a:pt x="32" y="171"/>
                      </a:cubicBezTo>
                      <a:cubicBezTo>
                        <a:pt x="32" y="170"/>
                        <a:pt x="32" y="170"/>
                        <a:pt x="30" y="170"/>
                      </a:cubicBezTo>
                      <a:cubicBezTo>
                        <a:pt x="29" y="171"/>
                        <a:pt x="26" y="171"/>
                        <a:pt x="24" y="172"/>
                      </a:cubicBezTo>
                      <a:cubicBezTo>
                        <a:pt x="22" y="173"/>
                        <a:pt x="21" y="173"/>
                        <a:pt x="22" y="171"/>
                      </a:cubicBezTo>
                      <a:cubicBezTo>
                        <a:pt x="23" y="170"/>
                        <a:pt x="25" y="169"/>
                        <a:pt x="27" y="167"/>
                      </a:cubicBezTo>
                      <a:cubicBezTo>
                        <a:pt x="29" y="165"/>
                        <a:pt x="30" y="164"/>
                        <a:pt x="31" y="164"/>
                      </a:cubicBezTo>
                      <a:cubicBezTo>
                        <a:pt x="32" y="163"/>
                        <a:pt x="28" y="165"/>
                        <a:pt x="27" y="164"/>
                      </a:cubicBezTo>
                      <a:cubicBezTo>
                        <a:pt x="26" y="162"/>
                        <a:pt x="25" y="162"/>
                        <a:pt x="26" y="159"/>
                      </a:cubicBezTo>
                      <a:cubicBezTo>
                        <a:pt x="26" y="157"/>
                        <a:pt x="27" y="157"/>
                        <a:pt x="29" y="158"/>
                      </a:cubicBezTo>
                      <a:cubicBezTo>
                        <a:pt x="30" y="159"/>
                        <a:pt x="31" y="159"/>
                        <a:pt x="32" y="160"/>
                      </a:cubicBezTo>
                      <a:cubicBezTo>
                        <a:pt x="33" y="160"/>
                        <a:pt x="34" y="161"/>
                        <a:pt x="33" y="162"/>
                      </a:cubicBezTo>
                      <a:cubicBezTo>
                        <a:pt x="32" y="163"/>
                        <a:pt x="31" y="163"/>
                        <a:pt x="31" y="163"/>
                      </a:cubicBezTo>
                      <a:cubicBezTo>
                        <a:pt x="32" y="163"/>
                        <a:pt x="35" y="161"/>
                        <a:pt x="37" y="161"/>
                      </a:cubicBezTo>
                      <a:cubicBezTo>
                        <a:pt x="39" y="160"/>
                        <a:pt x="40" y="160"/>
                        <a:pt x="41" y="161"/>
                      </a:cubicBezTo>
                      <a:cubicBezTo>
                        <a:pt x="43" y="161"/>
                        <a:pt x="44" y="159"/>
                        <a:pt x="45" y="159"/>
                      </a:cubicBezTo>
                      <a:cubicBezTo>
                        <a:pt x="47" y="159"/>
                        <a:pt x="48" y="159"/>
                        <a:pt x="49" y="160"/>
                      </a:cubicBezTo>
                      <a:cubicBezTo>
                        <a:pt x="50" y="161"/>
                        <a:pt x="52" y="162"/>
                        <a:pt x="51" y="161"/>
                      </a:cubicBezTo>
                      <a:cubicBezTo>
                        <a:pt x="49" y="160"/>
                        <a:pt x="48" y="159"/>
                        <a:pt x="50" y="158"/>
                      </a:cubicBezTo>
                      <a:cubicBezTo>
                        <a:pt x="52" y="157"/>
                        <a:pt x="52" y="158"/>
                        <a:pt x="53" y="159"/>
                      </a:cubicBezTo>
                      <a:cubicBezTo>
                        <a:pt x="55" y="160"/>
                        <a:pt x="54" y="160"/>
                        <a:pt x="56" y="160"/>
                      </a:cubicBezTo>
                      <a:cubicBezTo>
                        <a:pt x="57" y="160"/>
                        <a:pt x="58" y="159"/>
                        <a:pt x="57" y="159"/>
                      </a:cubicBezTo>
                      <a:cubicBezTo>
                        <a:pt x="56" y="159"/>
                        <a:pt x="54" y="160"/>
                        <a:pt x="53" y="157"/>
                      </a:cubicBezTo>
                      <a:cubicBezTo>
                        <a:pt x="51" y="154"/>
                        <a:pt x="51" y="154"/>
                        <a:pt x="52" y="153"/>
                      </a:cubicBezTo>
                      <a:cubicBezTo>
                        <a:pt x="52" y="151"/>
                        <a:pt x="54" y="152"/>
                        <a:pt x="54" y="151"/>
                      </a:cubicBezTo>
                      <a:cubicBezTo>
                        <a:pt x="54" y="149"/>
                        <a:pt x="52" y="149"/>
                        <a:pt x="52" y="147"/>
                      </a:cubicBezTo>
                      <a:cubicBezTo>
                        <a:pt x="52" y="146"/>
                        <a:pt x="53" y="145"/>
                        <a:pt x="54" y="144"/>
                      </a:cubicBezTo>
                      <a:cubicBezTo>
                        <a:pt x="56" y="144"/>
                        <a:pt x="56" y="143"/>
                        <a:pt x="56" y="141"/>
                      </a:cubicBezTo>
                      <a:cubicBezTo>
                        <a:pt x="56" y="139"/>
                        <a:pt x="58" y="137"/>
                        <a:pt x="56" y="137"/>
                      </a:cubicBezTo>
                      <a:cubicBezTo>
                        <a:pt x="55" y="138"/>
                        <a:pt x="54" y="139"/>
                        <a:pt x="54" y="138"/>
                      </a:cubicBezTo>
                      <a:cubicBezTo>
                        <a:pt x="53" y="136"/>
                        <a:pt x="53" y="137"/>
                        <a:pt x="52" y="139"/>
                      </a:cubicBezTo>
                      <a:cubicBezTo>
                        <a:pt x="52" y="141"/>
                        <a:pt x="51" y="141"/>
                        <a:pt x="50" y="140"/>
                      </a:cubicBezTo>
                      <a:cubicBezTo>
                        <a:pt x="50" y="138"/>
                        <a:pt x="51" y="137"/>
                        <a:pt x="50" y="137"/>
                      </a:cubicBezTo>
                      <a:cubicBezTo>
                        <a:pt x="49" y="137"/>
                        <a:pt x="48" y="139"/>
                        <a:pt x="47" y="137"/>
                      </a:cubicBezTo>
                      <a:cubicBezTo>
                        <a:pt x="46" y="134"/>
                        <a:pt x="46" y="132"/>
                        <a:pt x="45" y="130"/>
                      </a:cubicBezTo>
                      <a:cubicBezTo>
                        <a:pt x="43" y="129"/>
                        <a:pt x="44" y="129"/>
                        <a:pt x="44" y="127"/>
                      </a:cubicBezTo>
                      <a:cubicBezTo>
                        <a:pt x="45" y="125"/>
                        <a:pt x="46" y="124"/>
                        <a:pt x="46" y="123"/>
                      </a:cubicBezTo>
                      <a:cubicBezTo>
                        <a:pt x="47" y="122"/>
                        <a:pt x="47" y="121"/>
                        <a:pt x="48" y="120"/>
                      </a:cubicBezTo>
                      <a:cubicBezTo>
                        <a:pt x="49" y="119"/>
                        <a:pt x="50" y="119"/>
                        <a:pt x="52" y="118"/>
                      </a:cubicBezTo>
                      <a:cubicBezTo>
                        <a:pt x="53" y="117"/>
                        <a:pt x="55" y="116"/>
                        <a:pt x="54" y="116"/>
                      </a:cubicBezTo>
                      <a:cubicBezTo>
                        <a:pt x="53" y="116"/>
                        <a:pt x="49" y="116"/>
                        <a:pt x="47" y="116"/>
                      </a:cubicBezTo>
                      <a:cubicBezTo>
                        <a:pt x="45" y="116"/>
                        <a:pt x="45" y="117"/>
                        <a:pt x="45" y="118"/>
                      </a:cubicBezTo>
                      <a:cubicBezTo>
                        <a:pt x="45" y="119"/>
                        <a:pt x="44" y="119"/>
                        <a:pt x="43" y="119"/>
                      </a:cubicBezTo>
                      <a:cubicBezTo>
                        <a:pt x="42" y="118"/>
                        <a:pt x="40" y="121"/>
                        <a:pt x="39" y="122"/>
                      </a:cubicBezTo>
                      <a:cubicBezTo>
                        <a:pt x="37" y="123"/>
                        <a:pt x="37" y="122"/>
                        <a:pt x="36" y="121"/>
                      </a:cubicBezTo>
                      <a:cubicBezTo>
                        <a:pt x="35" y="120"/>
                        <a:pt x="34" y="122"/>
                        <a:pt x="33" y="121"/>
                      </a:cubicBezTo>
                      <a:cubicBezTo>
                        <a:pt x="32" y="120"/>
                        <a:pt x="31" y="119"/>
                        <a:pt x="31" y="120"/>
                      </a:cubicBezTo>
                      <a:cubicBezTo>
                        <a:pt x="31" y="121"/>
                        <a:pt x="32" y="123"/>
                        <a:pt x="31" y="124"/>
                      </a:cubicBezTo>
                      <a:cubicBezTo>
                        <a:pt x="30" y="124"/>
                        <a:pt x="28" y="124"/>
                        <a:pt x="27" y="122"/>
                      </a:cubicBezTo>
                      <a:cubicBezTo>
                        <a:pt x="26" y="121"/>
                        <a:pt x="24" y="119"/>
                        <a:pt x="23" y="119"/>
                      </a:cubicBezTo>
                      <a:cubicBezTo>
                        <a:pt x="22" y="120"/>
                        <a:pt x="20" y="121"/>
                        <a:pt x="21" y="122"/>
                      </a:cubicBezTo>
                      <a:cubicBezTo>
                        <a:pt x="22" y="123"/>
                        <a:pt x="23" y="124"/>
                        <a:pt x="22" y="124"/>
                      </a:cubicBezTo>
                      <a:cubicBezTo>
                        <a:pt x="22" y="125"/>
                        <a:pt x="21" y="124"/>
                        <a:pt x="20" y="122"/>
                      </a:cubicBezTo>
                      <a:cubicBezTo>
                        <a:pt x="18" y="120"/>
                        <a:pt x="17" y="117"/>
                        <a:pt x="17" y="117"/>
                      </a:cubicBezTo>
                      <a:cubicBezTo>
                        <a:pt x="18" y="116"/>
                        <a:pt x="19" y="116"/>
                        <a:pt x="19" y="117"/>
                      </a:cubicBezTo>
                      <a:cubicBezTo>
                        <a:pt x="20" y="118"/>
                        <a:pt x="21" y="118"/>
                        <a:pt x="20" y="116"/>
                      </a:cubicBezTo>
                      <a:cubicBezTo>
                        <a:pt x="20" y="114"/>
                        <a:pt x="19" y="113"/>
                        <a:pt x="21" y="112"/>
                      </a:cubicBezTo>
                      <a:cubicBezTo>
                        <a:pt x="22" y="111"/>
                        <a:pt x="23" y="110"/>
                        <a:pt x="23" y="108"/>
                      </a:cubicBezTo>
                      <a:cubicBezTo>
                        <a:pt x="24" y="107"/>
                        <a:pt x="24" y="105"/>
                        <a:pt x="26" y="104"/>
                      </a:cubicBezTo>
                      <a:cubicBezTo>
                        <a:pt x="27" y="103"/>
                        <a:pt x="28" y="104"/>
                        <a:pt x="27" y="101"/>
                      </a:cubicBezTo>
                      <a:cubicBezTo>
                        <a:pt x="26" y="98"/>
                        <a:pt x="25" y="100"/>
                        <a:pt x="24" y="97"/>
                      </a:cubicBezTo>
                      <a:cubicBezTo>
                        <a:pt x="23" y="94"/>
                        <a:pt x="24" y="89"/>
                        <a:pt x="24" y="89"/>
                      </a:cubicBezTo>
                      <a:cubicBezTo>
                        <a:pt x="25" y="88"/>
                        <a:pt x="25" y="88"/>
                        <a:pt x="27" y="88"/>
                      </a:cubicBezTo>
                      <a:cubicBezTo>
                        <a:pt x="29" y="89"/>
                        <a:pt x="28" y="88"/>
                        <a:pt x="27" y="86"/>
                      </a:cubicBezTo>
                      <a:cubicBezTo>
                        <a:pt x="25" y="85"/>
                        <a:pt x="25" y="83"/>
                        <a:pt x="24" y="82"/>
                      </a:cubicBezTo>
                      <a:cubicBezTo>
                        <a:pt x="24" y="80"/>
                        <a:pt x="23" y="85"/>
                        <a:pt x="23" y="86"/>
                      </a:cubicBezTo>
                      <a:cubicBezTo>
                        <a:pt x="23" y="88"/>
                        <a:pt x="23" y="91"/>
                        <a:pt x="22" y="90"/>
                      </a:cubicBezTo>
                      <a:cubicBezTo>
                        <a:pt x="21" y="89"/>
                        <a:pt x="21" y="88"/>
                        <a:pt x="20" y="89"/>
                      </a:cubicBezTo>
                      <a:cubicBezTo>
                        <a:pt x="19" y="89"/>
                        <a:pt x="18" y="90"/>
                        <a:pt x="19" y="90"/>
                      </a:cubicBezTo>
                      <a:cubicBezTo>
                        <a:pt x="20" y="90"/>
                        <a:pt x="22" y="93"/>
                        <a:pt x="22" y="94"/>
                      </a:cubicBezTo>
                      <a:cubicBezTo>
                        <a:pt x="21" y="94"/>
                        <a:pt x="20" y="93"/>
                        <a:pt x="19" y="92"/>
                      </a:cubicBezTo>
                      <a:cubicBezTo>
                        <a:pt x="18" y="91"/>
                        <a:pt x="17" y="91"/>
                        <a:pt x="16" y="90"/>
                      </a:cubicBezTo>
                      <a:cubicBezTo>
                        <a:pt x="15" y="89"/>
                        <a:pt x="16" y="87"/>
                        <a:pt x="17" y="85"/>
                      </a:cubicBezTo>
                      <a:cubicBezTo>
                        <a:pt x="19" y="84"/>
                        <a:pt x="22" y="79"/>
                        <a:pt x="21" y="79"/>
                      </a:cubicBezTo>
                      <a:cubicBezTo>
                        <a:pt x="20" y="80"/>
                        <a:pt x="16" y="86"/>
                        <a:pt x="15" y="86"/>
                      </a:cubicBezTo>
                      <a:cubicBezTo>
                        <a:pt x="14" y="87"/>
                        <a:pt x="13" y="88"/>
                        <a:pt x="13" y="85"/>
                      </a:cubicBezTo>
                      <a:cubicBezTo>
                        <a:pt x="12" y="83"/>
                        <a:pt x="13" y="82"/>
                        <a:pt x="13" y="79"/>
                      </a:cubicBezTo>
                      <a:cubicBezTo>
                        <a:pt x="13" y="76"/>
                        <a:pt x="12" y="76"/>
                        <a:pt x="14" y="75"/>
                      </a:cubicBezTo>
                      <a:cubicBezTo>
                        <a:pt x="16" y="73"/>
                        <a:pt x="15" y="73"/>
                        <a:pt x="17" y="72"/>
                      </a:cubicBezTo>
                      <a:cubicBezTo>
                        <a:pt x="19" y="72"/>
                        <a:pt x="20" y="73"/>
                        <a:pt x="19" y="72"/>
                      </a:cubicBezTo>
                      <a:cubicBezTo>
                        <a:pt x="18" y="70"/>
                        <a:pt x="16" y="71"/>
                        <a:pt x="16" y="69"/>
                      </a:cubicBezTo>
                      <a:cubicBezTo>
                        <a:pt x="16" y="68"/>
                        <a:pt x="17" y="67"/>
                        <a:pt x="18" y="66"/>
                      </a:cubicBezTo>
                      <a:cubicBezTo>
                        <a:pt x="19" y="66"/>
                        <a:pt x="21" y="67"/>
                        <a:pt x="22" y="65"/>
                      </a:cubicBezTo>
                      <a:cubicBezTo>
                        <a:pt x="22" y="63"/>
                        <a:pt x="19" y="66"/>
                        <a:pt x="19" y="64"/>
                      </a:cubicBezTo>
                      <a:cubicBezTo>
                        <a:pt x="19" y="62"/>
                        <a:pt x="20" y="61"/>
                        <a:pt x="19" y="61"/>
                      </a:cubicBezTo>
                      <a:cubicBezTo>
                        <a:pt x="18" y="62"/>
                        <a:pt x="15" y="67"/>
                        <a:pt x="13" y="69"/>
                      </a:cubicBezTo>
                      <a:cubicBezTo>
                        <a:pt x="12" y="70"/>
                        <a:pt x="12" y="71"/>
                        <a:pt x="10" y="71"/>
                      </a:cubicBezTo>
                      <a:cubicBezTo>
                        <a:pt x="8" y="70"/>
                        <a:pt x="7" y="70"/>
                        <a:pt x="7" y="69"/>
                      </a:cubicBezTo>
                      <a:cubicBezTo>
                        <a:pt x="7" y="67"/>
                        <a:pt x="7" y="66"/>
                        <a:pt x="9" y="66"/>
                      </a:cubicBezTo>
                      <a:cubicBezTo>
                        <a:pt x="11" y="65"/>
                        <a:pt x="12" y="65"/>
                        <a:pt x="11" y="65"/>
                      </a:cubicBezTo>
                      <a:cubicBezTo>
                        <a:pt x="10" y="65"/>
                        <a:pt x="8" y="64"/>
                        <a:pt x="8" y="63"/>
                      </a:cubicBezTo>
                      <a:cubicBezTo>
                        <a:pt x="8" y="61"/>
                        <a:pt x="8" y="61"/>
                        <a:pt x="9" y="61"/>
                      </a:cubicBezTo>
                      <a:cubicBezTo>
                        <a:pt x="11" y="61"/>
                        <a:pt x="10" y="60"/>
                        <a:pt x="9" y="59"/>
                      </a:cubicBezTo>
                      <a:cubicBezTo>
                        <a:pt x="9" y="58"/>
                        <a:pt x="8" y="58"/>
                        <a:pt x="9" y="56"/>
                      </a:cubicBezTo>
                      <a:cubicBezTo>
                        <a:pt x="9" y="55"/>
                        <a:pt x="11" y="54"/>
                        <a:pt x="11" y="55"/>
                      </a:cubicBezTo>
                      <a:cubicBezTo>
                        <a:pt x="12" y="56"/>
                        <a:pt x="13" y="56"/>
                        <a:pt x="12" y="56"/>
                      </a:cubicBezTo>
                      <a:cubicBezTo>
                        <a:pt x="11" y="55"/>
                        <a:pt x="11" y="54"/>
                        <a:pt x="11" y="53"/>
                      </a:cubicBezTo>
                      <a:cubicBezTo>
                        <a:pt x="11" y="52"/>
                        <a:pt x="11" y="51"/>
                        <a:pt x="13" y="52"/>
                      </a:cubicBezTo>
                      <a:cubicBezTo>
                        <a:pt x="14" y="52"/>
                        <a:pt x="15" y="53"/>
                        <a:pt x="15" y="52"/>
                      </a:cubicBezTo>
                      <a:cubicBezTo>
                        <a:pt x="15" y="52"/>
                        <a:pt x="13" y="51"/>
                        <a:pt x="12" y="50"/>
                      </a:cubicBezTo>
                      <a:cubicBezTo>
                        <a:pt x="11" y="50"/>
                        <a:pt x="12" y="48"/>
                        <a:pt x="12" y="47"/>
                      </a:cubicBezTo>
                      <a:cubicBezTo>
                        <a:pt x="12" y="46"/>
                        <a:pt x="13" y="47"/>
                        <a:pt x="14" y="47"/>
                      </a:cubicBezTo>
                      <a:cubicBezTo>
                        <a:pt x="15" y="47"/>
                        <a:pt x="15" y="46"/>
                        <a:pt x="14" y="46"/>
                      </a:cubicBezTo>
                      <a:cubicBezTo>
                        <a:pt x="13" y="45"/>
                        <a:pt x="11" y="45"/>
                        <a:pt x="11" y="44"/>
                      </a:cubicBezTo>
                      <a:cubicBezTo>
                        <a:pt x="12" y="43"/>
                        <a:pt x="13" y="44"/>
                        <a:pt x="14" y="43"/>
                      </a:cubicBezTo>
                      <a:cubicBezTo>
                        <a:pt x="14" y="42"/>
                        <a:pt x="12" y="44"/>
                        <a:pt x="12" y="44"/>
                      </a:cubicBezTo>
                      <a:cubicBezTo>
                        <a:pt x="11" y="44"/>
                        <a:pt x="10" y="43"/>
                        <a:pt x="9" y="41"/>
                      </a:cubicBezTo>
                      <a:cubicBezTo>
                        <a:pt x="9" y="39"/>
                        <a:pt x="9" y="37"/>
                        <a:pt x="10" y="38"/>
                      </a:cubicBezTo>
                      <a:cubicBezTo>
                        <a:pt x="11" y="38"/>
                        <a:pt x="14" y="39"/>
                        <a:pt x="13" y="38"/>
                      </a:cubicBezTo>
                      <a:cubicBezTo>
                        <a:pt x="11" y="36"/>
                        <a:pt x="10" y="36"/>
                        <a:pt x="9" y="34"/>
                      </a:cubicBezTo>
                      <a:cubicBezTo>
                        <a:pt x="9" y="31"/>
                        <a:pt x="9" y="29"/>
                        <a:pt x="10" y="28"/>
                      </a:cubicBezTo>
                      <a:cubicBezTo>
                        <a:pt x="10" y="27"/>
                        <a:pt x="11" y="27"/>
                        <a:pt x="12" y="27"/>
                      </a:cubicBezTo>
                      <a:cubicBezTo>
                        <a:pt x="13" y="27"/>
                        <a:pt x="14" y="27"/>
                        <a:pt x="15" y="27"/>
                      </a:cubicBezTo>
                      <a:cubicBezTo>
                        <a:pt x="16" y="26"/>
                        <a:pt x="16" y="25"/>
                        <a:pt x="17" y="26"/>
                      </a:cubicBezTo>
                      <a:cubicBezTo>
                        <a:pt x="18" y="27"/>
                        <a:pt x="19" y="27"/>
                        <a:pt x="20" y="26"/>
                      </a:cubicBezTo>
                      <a:cubicBezTo>
                        <a:pt x="20" y="26"/>
                        <a:pt x="19" y="23"/>
                        <a:pt x="18" y="23"/>
                      </a:cubicBezTo>
                      <a:cubicBezTo>
                        <a:pt x="17" y="22"/>
                        <a:pt x="16" y="21"/>
                        <a:pt x="17" y="20"/>
                      </a:cubicBezTo>
                      <a:cubicBezTo>
                        <a:pt x="17" y="19"/>
                        <a:pt x="19" y="21"/>
                        <a:pt x="18" y="19"/>
                      </a:cubicBezTo>
                      <a:cubicBezTo>
                        <a:pt x="17" y="16"/>
                        <a:pt x="17" y="16"/>
                        <a:pt x="18" y="15"/>
                      </a:cubicBezTo>
                      <a:cubicBezTo>
                        <a:pt x="19" y="13"/>
                        <a:pt x="19" y="13"/>
                        <a:pt x="20" y="13"/>
                      </a:cubicBezTo>
                      <a:cubicBezTo>
                        <a:pt x="22" y="13"/>
                        <a:pt x="23" y="15"/>
                        <a:pt x="23" y="13"/>
                      </a:cubicBezTo>
                      <a:cubicBezTo>
                        <a:pt x="22" y="12"/>
                        <a:pt x="20" y="12"/>
                        <a:pt x="21" y="11"/>
                      </a:cubicBezTo>
                      <a:cubicBezTo>
                        <a:pt x="22" y="10"/>
                        <a:pt x="23" y="9"/>
                        <a:pt x="23" y="9"/>
                      </a:cubicBezTo>
                      <a:cubicBezTo>
                        <a:pt x="23" y="8"/>
                        <a:pt x="23" y="7"/>
                        <a:pt x="23" y="5"/>
                      </a:cubicBezTo>
                      <a:cubicBezTo>
                        <a:pt x="23" y="2"/>
                        <a:pt x="23" y="1"/>
                        <a:pt x="24" y="1"/>
                      </a:cubicBezTo>
                      <a:cubicBezTo>
                        <a:pt x="25" y="1"/>
                        <a:pt x="26" y="2"/>
                        <a:pt x="26" y="3"/>
                      </a:cubicBezTo>
                      <a:cubicBezTo>
                        <a:pt x="27" y="4"/>
                        <a:pt x="27" y="6"/>
                        <a:pt x="28" y="5"/>
                      </a:cubicBezTo>
                      <a:cubicBezTo>
                        <a:pt x="29" y="5"/>
                        <a:pt x="31" y="3"/>
                        <a:pt x="32" y="3"/>
                      </a:cubicBezTo>
                      <a:cubicBezTo>
                        <a:pt x="32" y="4"/>
                        <a:pt x="32" y="5"/>
                        <a:pt x="33" y="5"/>
                      </a:cubicBezTo>
                      <a:cubicBezTo>
                        <a:pt x="34" y="5"/>
                        <a:pt x="37" y="3"/>
                        <a:pt x="39" y="3"/>
                      </a:cubicBezTo>
                      <a:cubicBezTo>
                        <a:pt x="40" y="3"/>
                        <a:pt x="41" y="3"/>
                        <a:pt x="42" y="3"/>
                      </a:cubicBezTo>
                      <a:cubicBezTo>
                        <a:pt x="44" y="3"/>
                        <a:pt x="45" y="0"/>
                        <a:pt x="46" y="1"/>
                      </a:cubicBezTo>
                      <a:cubicBezTo>
                        <a:pt x="48" y="2"/>
                        <a:pt x="49" y="3"/>
                        <a:pt x="50" y="2"/>
                      </a:cubicBezTo>
                      <a:cubicBezTo>
                        <a:pt x="51" y="1"/>
                        <a:pt x="51" y="0"/>
                        <a:pt x="53" y="0"/>
                      </a:cubicBezTo>
                      <a:cubicBezTo>
                        <a:pt x="55" y="1"/>
                        <a:pt x="56" y="2"/>
                        <a:pt x="56" y="4"/>
                      </a:cubicBezTo>
                      <a:cubicBezTo>
                        <a:pt x="56" y="5"/>
                        <a:pt x="55" y="10"/>
                        <a:pt x="54" y="11"/>
                      </a:cubicBezTo>
                      <a:cubicBezTo>
                        <a:pt x="54" y="11"/>
                        <a:pt x="52" y="11"/>
                        <a:pt x="51" y="13"/>
                      </a:cubicBezTo>
                      <a:cubicBezTo>
                        <a:pt x="49" y="16"/>
                        <a:pt x="47" y="18"/>
                        <a:pt x="45" y="20"/>
                      </a:cubicBezTo>
                      <a:cubicBezTo>
                        <a:pt x="43" y="21"/>
                        <a:pt x="42" y="23"/>
                        <a:pt x="41" y="24"/>
                      </a:cubicBezTo>
                      <a:cubicBezTo>
                        <a:pt x="40" y="24"/>
                        <a:pt x="38" y="25"/>
                        <a:pt x="38" y="27"/>
                      </a:cubicBezTo>
                      <a:cubicBezTo>
                        <a:pt x="39" y="28"/>
                        <a:pt x="36" y="27"/>
                        <a:pt x="35" y="27"/>
                      </a:cubicBezTo>
                      <a:cubicBezTo>
                        <a:pt x="34" y="26"/>
                        <a:pt x="33" y="27"/>
                        <a:pt x="35" y="27"/>
                      </a:cubicBezTo>
                      <a:cubicBezTo>
                        <a:pt x="36" y="28"/>
                        <a:pt x="38" y="28"/>
                        <a:pt x="40" y="28"/>
                      </a:cubicBezTo>
                      <a:cubicBezTo>
                        <a:pt x="42" y="28"/>
                        <a:pt x="43" y="29"/>
                        <a:pt x="42" y="30"/>
                      </a:cubicBezTo>
                      <a:cubicBezTo>
                        <a:pt x="40" y="32"/>
                        <a:pt x="35" y="32"/>
                        <a:pt x="34" y="34"/>
                      </a:cubicBezTo>
                      <a:cubicBezTo>
                        <a:pt x="32" y="36"/>
                        <a:pt x="32" y="36"/>
                        <a:pt x="33" y="35"/>
                      </a:cubicBezTo>
                      <a:cubicBezTo>
                        <a:pt x="35" y="35"/>
                        <a:pt x="35" y="34"/>
                        <a:pt x="37" y="33"/>
                      </a:cubicBezTo>
                      <a:cubicBezTo>
                        <a:pt x="39" y="33"/>
                        <a:pt x="39" y="34"/>
                        <a:pt x="39" y="35"/>
                      </a:cubicBezTo>
                      <a:cubicBezTo>
                        <a:pt x="38" y="37"/>
                        <a:pt x="35" y="40"/>
                        <a:pt x="36" y="40"/>
                      </a:cubicBezTo>
                      <a:cubicBezTo>
                        <a:pt x="37" y="39"/>
                        <a:pt x="40" y="37"/>
                        <a:pt x="42" y="36"/>
                      </a:cubicBezTo>
                      <a:cubicBezTo>
                        <a:pt x="43" y="35"/>
                        <a:pt x="45" y="35"/>
                        <a:pt x="47" y="33"/>
                      </a:cubicBezTo>
                      <a:cubicBezTo>
                        <a:pt x="50" y="31"/>
                        <a:pt x="50" y="31"/>
                        <a:pt x="52" y="33"/>
                      </a:cubicBezTo>
                      <a:cubicBezTo>
                        <a:pt x="54" y="35"/>
                        <a:pt x="55" y="34"/>
                        <a:pt x="57" y="33"/>
                      </a:cubicBezTo>
                      <a:cubicBezTo>
                        <a:pt x="59" y="33"/>
                        <a:pt x="61" y="33"/>
                        <a:pt x="63" y="33"/>
                      </a:cubicBezTo>
                      <a:cubicBezTo>
                        <a:pt x="65" y="33"/>
                        <a:pt x="68" y="33"/>
                        <a:pt x="70" y="32"/>
                      </a:cubicBezTo>
                      <a:cubicBezTo>
                        <a:pt x="72" y="31"/>
                        <a:pt x="73" y="33"/>
                        <a:pt x="75" y="34"/>
                      </a:cubicBezTo>
                      <a:cubicBezTo>
                        <a:pt x="77" y="36"/>
                        <a:pt x="76" y="38"/>
                        <a:pt x="76" y="40"/>
                      </a:cubicBezTo>
                      <a:cubicBezTo>
                        <a:pt x="76" y="42"/>
                        <a:pt x="75" y="45"/>
                        <a:pt x="74" y="46"/>
                      </a:cubicBezTo>
                      <a:cubicBezTo>
                        <a:pt x="73" y="48"/>
                        <a:pt x="73" y="48"/>
                        <a:pt x="72" y="50"/>
                      </a:cubicBezTo>
                      <a:cubicBezTo>
                        <a:pt x="72" y="53"/>
                        <a:pt x="70" y="58"/>
                        <a:pt x="69" y="59"/>
                      </a:cubicBezTo>
                      <a:cubicBezTo>
                        <a:pt x="68" y="60"/>
                        <a:pt x="66" y="63"/>
                        <a:pt x="65" y="65"/>
                      </a:cubicBezTo>
                      <a:cubicBezTo>
                        <a:pt x="64" y="66"/>
                        <a:pt x="64" y="70"/>
                        <a:pt x="62" y="70"/>
                      </a:cubicBezTo>
                      <a:cubicBezTo>
                        <a:pt x="61" y="71"/>
                        <a:pt x="59" y="71"/>
                        <a:pt x="58" y="71"/>
                      </a:cubicBezTo>
                      <a:cubicBezTo>
                        <a:pt x="56" y="71"/>
                        <a:pt x="53" y="75"/>
                        <a:pt x="51" y="75"/>
                      </a:cubicBezTo>
                      <a:cubicBezTo>
                        <a:pt x="50" y="76"/>
                        <a:pt x="51" y="76"/>
                        <a:pt x="53" y="75"/>
                      </a:cubicBezTo>
                      <a:cubicBezTo>
                        <a:pt x="55" y="74"/>
                        <a:pt x="56" y="73"/>
                        <a:pt x="58" y="73"/>
                      </a:cubicBezTo>
                      <a:cubicBezTo>
                        <a:pt x="60" y="72"/>
                        <a:pt x="59" y="74"/>
                        <a:pt x="59" y="75"/>
                      </a:cubicBezTo>
                      <a:cubicBezTo>
                        <a:pt x="59" y="77"/>
                        <a:pt x="60" y="76"/>
                        <a:pt x="61" y="77"/>
                      </a:cubicBezTo>
                      <a:cubicBezTo>
                        <a:pt x="62" y="77"/>
                        <a:pt x="62" y="80"/>
                        <a:pt x="61" y="80"/>
                      </a:cubicBezTo>
                      <a:cubicBezTo>
                        <a:pt x="61" y="80"/>
                        <a:pt x="58" y="80"/>
                        <a:pt x="56" y="81"/>
                      </a:cubicBezTo>
                      <a:cubicBezTo>
                        <a:pt x="55" y="81"/>
                        <a:pt x="54" y="83"/>
                        <a:pt x="52" y="84"/>
                      </a:cubicBezTo>
                      <a:cubicBezTo>
                        <a:pt x="51" y="85"/>
                        <a:pt x="51" y="87"/>
                        <a:pt x="49" y="86"/>
                      </a:cubicBezTo>
                      <a:cubicBezTo>
                        <a:pt x="48" y="86"/>
                        <a:pt x="44" y="85"/>
                        <a:pt x="42" y="84"/>
                      </a:cubicBezTo>
                      <a:cubicBezTo>
                        <a:pt x="41" y="83"/>
                        <a:pt x="44" y="85"/>
                        <a:pt x="46" y="86"/>
                      </a:cubicBezTo>
                      <a:cubicBezTo>
                        <a:pt x="48" y="87"/>
                        <a:pt x="52" y="88"/>
                        <a:pt x="54" y="88"/>
                      </a:cubicBezTo>
                      <a:cubicBezTo>
                        <a:pt x="56" y="88"/>
                        <a:pt x="57" y="88"/>
                        <a:pt x="58" y="86"/>
                      </a:cubicBezTo>
                      <a:cubicBezTo>
                        <a:pt x="59" y="84"/>
                        <a:pt x="61" y="84"/>
                        <a:pt x="62" y="85"/>
                      </a:cubicBezTo>
                      <a:cubicBezTo>
                        <a:pt x="63" y="87"/>
                        <a:pt x="66" y="88"/>
                        <a:pt x="67" y="88"/>
                      </a:cubicBezTo>
                      <a:cubicBezTo>
                        <a:pt x="68" y="89"/>
                        <a:pt x="70" y="88"/>
                        <a:pt x="71" y="90"/>
                      </a:cubicBezTo>
                      <a:cubicBezTo>
                        <a:pt x="72" y="92"/>
                        <a:pt x="73" y="96"/>
                        <a:pt x="75" y="97"/>
                      </a:cubicBezTo>
                      <a:cubicBezTo>
                        <a:pt x="77" y="98"/>
                        <a:pt x="78" y="99"/>
                        <a:pt x="79" y="101"/>
                      </a:cubicBezTo>
                      <a:cubicBezTo>
                        <a:pt x="80" y="103"/>
                        <a:pt x="80" y="105"/>
                        <a:pt x="80" y="108"/>
                      </a:cubicBezTo>
                      <a:cubicBezTo>
                        <a:pt x="80" y="110"/>
                        <a:pt x="82" y="115"/>
                        <a:pt x="82" y="118"/>
                      </a:cubicBezTo>
                      <a:cubicBezTo>
                        <a:pt x="83" y="120"/>
                        <a:pt x="85" y="125"/>
                        <a:pt x="86" y="127"/>
                      </a:cubicBezTo>
                      <a:cubicBezTo>
                        <a:pt x="87" y="128"/>
                        <a:pt x="87" y="125"/>
                        <a:pt x="90" y="128"/>
                      </a:cubicBezTo>
                      <a:cubicBezTo>
                        <a:pt x="94" y="130"/>
                        <a:pt x="96" y="130"/>
                        <a:pt x="97" y="132"/>
                      </a:cubicBezTo>
                      <a:cubicBezTo>
                        <a:pt x="98" y="134"/>
                        <a:pt x="99" y="136"/>
                        <a:pt x="101" y="137"/>
                      </a:cubicBezTo>
                      <a:cubicBezTo>
                        <a:pt x="102" y="138"/>
                        <a:pt x="103" y="140"/>
                        <a:pt x="103" y="141"/>
                      </a:cubicBezTo>
                      <a:cubicBezTo>
                        <a:pt x="102" y="142"/>
                        <a:pt x="103" y="147"/>
                        <a:pt x="105" y="148"/>
                      </a:cubicBezTo>
                      <a:cubicBezTo>
                        <a:pt x="106" y="150"/>
                        <a:pt x="107" y="152"/>
                        <a:pt x="107" y="153"/>
                      </a:cubicBezTo>
                      <a:cubicBezTo>
                        <a:pt x="107" y="153"/>
                        <a:pt x="105" y="153"/>
                        <a:pt x="104" y="152"/>
                      </a:cubicBezTo>
                      <a:cubicBezTo>
                        <a:pt x="103" y="151"/>
                        <a:pt x="102" y="151"/>
                        <a:pt x="101" y="150"/>
                      </a:cubicBezTo>
                      <a:cubicBezTo>
                        <a:pt x="100" y="149"/>
                        <a:pt x="98" y="150"/>
                        <a:pt x="96" y="150"/>
                      </a:cubicBezTo>
                      <a:cubicBezTo>
                        <a:pt x="95" y="150"/>
                        <a:pt x="92" y="150"/>
                        <a:pt x="93" y="150"/>
                      </a:cubicBezTo>
                      <a:cubicBezTo>
                        <a:pt x="94" y="151"/>
                        <a:pt x="98" y="150"/>
                        <a:pt x="100" y="150"/>
                      </a:cubicBezTo>
                      <a:cubicBezTo>
                        <a:pt x="101" y="151"/>
                        <a:pt x="102" y="152"/>
                        <a:pt x="104" y="154"/>
                      </a:cubicBezTo>
                      <a:cubicBezTo>
                        <a:pt x="106" y="156"/>
                        <a:pt x="109" y="158"/>
                        <a:pt x="110" y="160"/>
                      </a:cubicBezTo>
                      <a:cubicBezTo>
                        <a:pt x="111" y="161"/>
                        <a:pt x="111" y="165"/>
                        <a:pt x="110" y="165"/>
                      </a:cubicBezTo>
                      <a:cubicBezTo>
                        <a:pt x="109" y="166"/>
                        <a:pt x="106" y="168"/>
                        <a:pt x="105" y="169"/>
                      </a:cubicBezTo>
                      <a:cubicBezTo>
                        <a:pt x="104" y="171"/>
                        <a:pt x="105" y="170"/>
                        <a:pt x="107" y="171"/>
                      </a:cubicBezTo>
                      <a:cubicBezTo>
                        <a:pt x="108" y="171"/>
                        <a:pt x="109" y="174"/>
                        <a:pt x="110" y="173"/>
                      </a:cubicBezTo>
                      <a:cubicBezTo>
                        <a:pt x="111" y="172"/>
                        <a:pt x="113" y="169"/>
                        <a:pt x="115" y="169"/>
                      </a:cubicBezTo>
                      <a:cubicBezTo>
                        <a:pt x="117" y="168"/>
                        <a:pt x="120" y="168"/>
                        <a:pt x="122" y="168"/>
                      </a:cubicBezTo>
                      <a:cubicBezTo>
                        <a:pt x="125" y="168"/>
                        <a:pt x="131" y="171"/>
                        <a:pt x="132" y="173"/>
                      </a:cubicBezTo>
                      <a:cubicBezTo>
                        <a:pt x="133" y="174"/>
                        <a:pt x="134" y="177"/>
                        <a:pt x="134" y="178"/>
                      </a:cubicBezTo>
                      <a:cubicBezTo>
                        <a:pt x="134" y="180"/>
                        <a:pt x="134" y="181"/>
                        <a:pt x="133" y="183"/>
                      </a:cubicBezTo>
                      <a:cubicBezTo>
                        <a:pt x="131" y="185"/>
                        <a:pt x="131" y="187"/>
                        <a:pt x="131" y="188"/>
                      </a:cubicBezTo>
                      <a:cubicBezTo>
                        <a:pt x="131" y="189"/>
                        <a:pt x="129" y="189"/>
                        <a:pt x="128" y="190"/>
                      </a:cubicBezTo>
                      <a:cubicBezTo>
                        <a:pt x="126" y="192"/>
                        <a:pt x="125" y="191"/>
                        <a:pt x="124" y="191"/>
                      </a:cubicBezTo>
                      <a:cubicBezTo>
                        <a:pt x="123" y="191"/>
                        <a:pt x="121" y="192"/>
                        <a:pt x="122" y="193"/>
                      </a:cubicBezTo>
                      <a:cubicBezTo>
                        <a:pt x="123" y="193"/>
                        <a:pt x="125" y="193"/>
                        <a:pt x="125" y="194"/>
                      </a:cubicBezTo>
                      <a:cubicBezTo>
                        <a:pt x="125" y="195"/>
                        <a:pt x="123" y="196"/>
                        <a:pt x="122" y="196"/>
                      </a:cubicBezTo>
                      <a:cubicBezTo>
                        <a:pt x="120" y="196"/>
                        <a:pt x="119" y="195"/>
                        <a:pt x="119" y="196"/>
                      </a:cubicBezTo>
                      <a:cubicBezTo>
                        <a:pt x="118" y="196"/>
                        <a:pt x="116" y="197"/>
                        <a:pt x="115" y="198"/>
                      </a:cubicBezTo>
                      <a:cubicBezTo>
                        <a:pt x="115" y="198"/>
                        <a:pt x="118" y="198"/>
                        <a:pt x="118" y="199"/>
                      </a:cubicBezTo>
                      <a:cubicBezTo>
                        <a:pt x="119" y="200"/>
                        <a:pt x="119" y="200"/>
                        <a:pt x="118" y="201"/>
                      </a:cubicBezTo>
                      <a:cubicBezTo>
                        <a:pt x="117" y="201"/>
                        <a:pt x="115" y="202"/>
                        <a:pt x="114" y="202"/>
                      </a:cubicBezTo>
                      <a:cubicBezTo>
                        <a:pt x="113" y="202"/>
                        <a:pt x="110" y="203"/>
                        <a:pt x="110" y="203"/>
                      </a:cubicBezTo>
                      <a:cubicBezTo>
                        <a:pt x="110" y="203"/>
                        <a:pt x="109" y="204"/>
                        <a:pt x="110" y="204"/>
                      </a:cubicBezTo>
                      <a:cubicBezTo>
                        <a:pt x="110" y="203"/>
                        <a:pt x="112" y="203"/>
                        <a:pt x="113" y="203"/>
                      </a:cubicBezTo>
                      <a:cubicBezTo>
                        <a:pt x="114" y="202"/>
                        <a:pt x="115" y="203"/>
                        <a:pt x="114" y="204"/>
                      </a:cubicBezTo>
                      <a:cubicBezTo>
                        <a:pt x="113" y="205"/>
                        <a:pt x="112" y="205"/>
                        <a:pt x="113" y="206"/>
                      </a:cubicBezTo>
                      <a:cubicBezTo>
                        <a:pt x="114" y="206"/>
                        <a:pt x="115" y="206"/>
                        <a:pt x="116" y="206"/>
                      </a:cubicBezTo>
                      <a:cubicBezTo>
                        <a:pt x="116" y="206"/>
                        <a:pt x="116" y="203"/>
                        <a:pt x="117" y="204"/>
                      </a:cubicBezTo>
                      <a:cubicBezTo>
                        <a:pt x="118" y="205"/>
                        <a:pt x="118" y="207"/>
                        <a:pt x="119" y="206"/>
                      </a:cubicBezTo>
                      <a:cubicBezTo>
                        <a:pt x="121" y="206"/>
                        <a:pt x="124" y="205"/>
                        <a:pt x="125" y="206"/>
                      </a:cubicBezTo>
                      <a:cubicBezTo>
                        <a:pt x="126" y="206"/>
                        <a:pt x="126" y="208"/>
                        <a:pt x="126" y="208"/>
                      </a:cubicBezTo>
                      <a:cubicBezTo>
                        <a:pt x="126" y="208"/>
                        <a:pt x="126" y="209"/>
                        <a:pt x="125" y="210"/>
                      </a:cubicBezTo>
                      <a:cubicBezTo>
                        <a:pt x="124" y="212"/>
                        <a:pt x="121" y="212"/>
                        <a:pt x="119" y="213"/>
                      </a:cubicBezTo>
                      <a:cubicBezTo>
                        <a:pt x="118" y="215"/>
                        <a:pt x="120" y="216"/>
                        <a:pt x="118" y="216"/>
                      </a:cubicBezTo>
                      <a:cubicBezTo>
                        <a:pt x="116" y="217"/>
                        <a:pt x="112" y="218"/>
                        <a:pt x="111" y="218"/>
                      </a:cubicBezTo>
                      <a:cubicBezTo>
                        <a:pt x="109" y="219"/>
                        <a:pt x="106" y="220"/>
                        <a:pt x="105" y="220"/>
                      </a:cubicBezTo>
                      <a:cubicBezTo>
                        <a:pt x="104" y="221"/>
                        <a:pt x="101" y="219"/>
                        <a:pt x="100" y="219"/>
                      </a:cubicBezTo>
                      <a:cubicBezTo>
                        <a:pt x="99" y="219"/>
                        <a:pt x="93" y="219"/>
                        <a:pt x="92" y="219"/>
                      </a:cubicBezTo>
                      <a:cubicBezTo>
                        <a:pt x="91" y="220"/>
                        <a:pt x="87" y="220"/>
                        <a:pt x="86" y="220"/>
                      </a:cubicBezTo>
                      <a:cubicBezTo>
                        <a:pt x="85" y="219"/>
                        <a:pt x="85" y="218"/>
                        <a:pt x="84" y="218"/>
                      </a:cubicBezTo>
                      <a:cubicBezTo>
                        <a:pt x="83" y="219"/>
                        <a:pt x="83" y="219"/>
                        <a:pt x="82" y="219"/>
                      </a:cubicBezTo>
                      <a:cubicBezTo>
                        <a:pt x="81" y="218"/>
                        <a:pt x="79" y="218"/>
                        <a:pt x="78" y="218"/>
                      </a:cubicBezTo>
                      <a:cubicBezTo>
                        <a:pt x="77" y="218"/>
                        <a:pt x="77" y="217"/>
                        <a:pt x="77" y="217"/>
                      </a:cubicBezTo>
                      <a:cubicBezTo>
                        <a:pt x="77" y="218"/>
                        <a:pt x="77" y="219"/>
                        <a:pt x="76" y="220"/>
                      </a:cubicBezTo>
                      <a:cubicBezTo>
                        <a:pt x="75" y="220"/>
                        <a:pt x="80" y="220"/>
                        <a:pt x="81" y="221"/>
                      </a:cubicBezTo>
                      <a:cubicBezTo>
                        <a:pt x="83" y="221"/>
                        <a:pt x="83" y="222"/>
                        <a:pt x="80" y="224"/>
                      </a:cubicBezTo>
                      <a:cubicBezTo>
                        <a:pt x="78" y="225"/>
                        <a:pt x="76" y="224"/>
                        <a:pt x="76" y="223"/>
                      </a:cubicBezTo>
                      <a:cubicBezTo>
                        <a:pt x="75" y="222"/>
                        <a:pt x="76" y="221"/>
                        <a:pt x="75" y="221"/>
                      </a:cubicBezTo>
                      <a:cubicBezTo>
                        <a:pt x="75" y="220"/>
                        <a:pt x="76" y="221"/>
                        <a:pt x="73" y="221"/>
                      </a:cubicBezTo>
                      <a:cubicBezTo>
                        <a:pt x="70" y="221"/>
                        <a:pt x="69" y="221"/>
                        <a:pt x="67" y="221"/>
                      </a:cubicBezTo>
                      <a:cubicBezTo>
                        <a:pt x="66" y="221"/>
                        <a:pt x="64" y="221"/>
                        <a:pt x="64" y="221"/>
                      </a:cubicBezTo>
                      <a:cubicBezTo>
                        <a:pt x="64" y="221"/>
                        <a:pt x="67" y="222"/>
                        <a:pt x="66" y="223"/>
                      </a:cubicBezTo>
                      <a:cubicBezTo>
                        <a:pt x="65" y="225"/>
                        <a:pt x="63" y="225"/>
                        <a:pt x="63" y="224"/>
                      </a:cubicBezTo>
                      <a:cubicBezTo>
                        <a:pt x="62" y="223"/>
                        <a:pt x="60" y="222"/>
                        <a:pt x="59" y="223"/>
                      </a:cubicBezTo>
                      <a:cubicBezTo>
                        <a:pt x="59" y="225"/>
                        <a:pt x="60" y="227"/>
                        <a:pt x="58" y="225"/>
                      </a:cubicBezTo>
                      <a:cubicBezTo>
                        <a:pt x="56" y="224"/>
                        <a:pt x="54" y="222"/>
                        <a:pt x="53" y="221"/>
                      </a:cubicBezTo>
                      <a:cubicBezTo>
                        <a:pt x="52" y="221"/>
                        <a:pt x="47" y="220"/>
                        <a:pt x="45" y="22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9" name="Freeform 127">
                  <a:extLst>
                    <a:ext uri="{FF2B5EF4-FFF2-40B4-BE49-F238E27FC236}">
                      <a16:creationId xmlns:a16="http://schemas.microsoft.com/office/drawing/2014/main" id="{5CCF40F8-4FC8-D7FC-81AC-14888D1F4F1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52676" y="4090988"/>
                  <a:ext cx="20638" cy="38100"/>
                </a:xfrm>
                <a:custGeom>
                  <a:avLst/>
                  <a:gdLst>
                    <a:gd name="T0" fmla="*/ 2 w 5"/>
                    <a:gd name="T1" fmla="*/ 1 h 9"/>
                    <a:gd name="T2" fmla="*/ 0 w 5"/>
                    <a:gd name="T3" fmla="*/ 4 h 9"/>
                    <a:gd name="T4" fmla="*/ 3 w 5"/>
                    <a:gd name="T5" fmla="*/ 9 h 9"/>
                    <a:gd name="T6" fmla="*/ 5 w 5"/>
                    <a:gd name="T7" fmla="*/ 6 h 9"/>
                    <a:gd name="T8" fmla="*/ 2 w 5"/>
                    <a:gd name="T9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9">
                      <a:moveTo>
                        <a:pt x="2" y="1"/>
                      </a:moveTo>
                      <a:cubicBezTo>
                        <a:pt x="1" y="1"/>
                        <a:pt x="0" y="1"/>
                        <a:pt x="0" y="4"/>
                      </a:cubicBezTo>
                      <a:cubicBezTo>
                        <a:pt x="1" y="7"/>
                        <a:pt x="2" y="9"/>
                        <a:pt x="3" y="9"/>
                      </a:cubicBezTo>
                      <a:cubicBezTo>
                        <a:pt x="4" y="9"/>
                        <a:pt x="5" y="8"/>
                        <a:pt x="5" y="6"/>
                      </a:cubicBezTo>
                      <a:cubicBezTo>
                        <a:pt x="4" y="4"/>
                        <a:pt x="3" y="0"/>
                        <a:pt x="2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0" name="Freeform 128">
                  <a:extLst>
                    <a:ext uri="{FF2B5EF4-FFF2-40B4-BE49-F238E27FC236}">
                      <a16:creationId xmlns:a16="http://schemas.microsoft.com/office/drawing/2014/main" id="{6F0E6C58-EEE0-700D-C578-9842FF6EF33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24101" y="4062413"/>
                  <a:ext cx="28575" cy="87313"/>
                </a:xfrm>
                <a:custGeom>
                  <a:avLst/>
                  <a:gdLst>
                    <a:gd name="T0" fmla="*/ 5 w 7"/>
                    <a:gd name="T1" fmla="*/ 0 h 21"/>
                    <a:gd name="T2" fmla="*/ 7 w 7"/>
                    <a:gd name="T3" fmla="*/ 5 h 21"/>
                    <a:gd name="T4" fmla="*/ 5 w 7"/>
                    <a:gd name="T5" fmla="*/ 11 h 21"/>
                    <a:gd name="T6" fmla="*/ 4 w 7"/>
                    <a:gd name="T7" fmla="*/ 17 h 21"/>
                    <a:gd name="T8" fmla="*/ 0 w 7"/>
                    <a:gd name="T9" fmla="*/ 20 h 21"/>
                    <a:gd name="T10" fmla="*/ 1 w 7"/>
                    <a:gd name="T11" fmla="*/ 16 h 21"/>
                    <a:gd name="T12" fmla="*/ 2 w 7"/>
                    <a:gd name="T13" fmla="*/ 10 h 21"/>
                    <a:gd name="T14" fmla="*/ 4 w 7"/>
                    <a:gd name="T15" fmla="*/ 6 h 21"/>
                    <a:gd name="T16" fmla="*/ 3 w 7"/>
                    <a:gd name="T17" fmla="*/ 5 h 21"/>
                    <a:gd name="T18" fmla="*/ 3 w 7"/>
                    <a:gd name="T19" fmla="*/ 1 h 21"/>
                    <a:gd name="T20" fmla="*/ 5 w 7"/>
                    <a:gd name="T21" fmla="*/ 0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21">
                      <a:moveTo>
                        <a:pt x="5" y="0"/>
                      </a:moveTo>
                      <a:cubicBezTo>
                        <a:pt x="6" y="1"/>
                        <a:pt x="6" y="4"/>
                        <a:pt x="7" y="5"/>
                      </a:cubicBezTo>
                      <a:cubicBezTo>
                        <a:pt x="7" y="7"/>
                        <a:pt x="6" y="9"/>
                        <a:pt x="5" y="11"/>
                      </a:cubicBezTo>
                      <a:cubicBezTo>
                        <a:pt x="5" y="13"/>
                        <a:pt x="4" y="16"/>
                        <a:pt x="4" y="17"/>
                      </a:cubicBezTo>
                      <a:cubicBezTo>
                        <a:pt x="4" y="19"/>
                        <a:pt x="0" y="21"/>
                        <a:pt x="0" y="20"/>
                      </a:cubicBezTo>
                      <a:cubicBezTo>
                        <a:pt x="0" y="19"/>
                        <a:pt x="0" y="18"/>
                        <a:pt x="1" y="16"/>
                      </a:cubicBezTo>
                      <a:cubicBezTo>
                        <a:pt x="2" y="14"/>
                        <a:pt x="1" y="12"/>
                        <a:pt x="2" y="10"/>
                      </a:cubicBezTo>
                      <a:cubicBezTo>
                        <a:pt x="3" y="8"/>
                        <a:pt x="4" y="7"/>
                        <a:pt x="4" y="6"/>
                      </a:cubicBezTo>
                      <a:cubicBezTo>
                        <a:pt x="5" y="4"/>
                        <a:pt x="4" y="7"/>
                        <a:pt x="3" y="5"/>
                      </a:cubicBezTo>
                      <a:cubicBezTo>
                        <a:pt x="2" y="3"/>
                        <a:pt x="2" y="1"/>
                        <a:pt x="3" y="1"/>
                      </a:cubicBezTo>
                      <a:cubicBezTo>
                        <a:pt x="4" y="0"/>
                        <a:pt x="6" y="0"/>
                        <a:pt x="5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1" name="Freeform 129">
                  <a:extLst>
                    <a:ext uri="{FF2B5EF4-FFF2-40B4-BE49-F238E27FC236}">
                      <a16:creationId xmlns:a16="http://schemas.microsoft.com/office/drawing/2014/main" id="{0754AE8C-8D5D-E29D-FA25-B4192D7D82F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70126" y="4065588"/>
                  <a:ext cx="36513" cy="46038"/>
                </a:xfrm>
                <a:custGeom>
                  <a:avLst/>
                  <a:gdLst>
                    <a:gd name="T0" fmla="*/ 9 w 9"/>
                    <a:gd name="T1" fmla="*/ 6 h 11"/>
                    <a:gd name="T2" fmla="*/ 6 w 9"/>
                    <a:gd name="T3" fmla="*/ 2 h 11"/>
                    <a:gd name="T4" fmla="*/ 2 w 9"/>
                    <a:gd name="T5" fmla="*/ 3 h 11"/>
                    <a:gd name="T6" fmla="*/ 1 w 9"/>
                    <a:gd name="T7" fmla="*/ 7 h 11"/>
                    <a:gd name="T8" fmla="*/ 5 w 9"/>
                    <a:gd name="T9" fmla="*/ 7 h 11"/>
                    <a:gd name="T10" fmla="*/ 5 w 9"/>
                    <a:gd name="T11" fmla="*/ 10 h 11"/>
                    <a:gd name="T12" fmla="*/ 9 w 9"/>
                    <a:gd name="T13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11">
                      <a:moveTo>
                        <a:pt x="9" y="6"/>
                      </a:moveTo>
                      <a:cubicBezTo>
                        <a:pt x="8" y="4"/>
                        <a:pt x="8" y="3"/>
                        <a:pt x="6" y="2"/>
                      </a:cubicBezTo>
                      <a:cubicBezTo>
                        <a:pt x="4" y="0"/>
                        <a:pt x="3" y="1"/>
                        <a:pt x="2" y="3"/>
                      </a:cubicBezTo>
                      <a:cubicBezTo>
                        <a:pt x="1" y="4"/>
                        <a:pt x="0" y="8"/>
                        <a:pt x="1" y="7"/>
                      </a:cubicBezTo>
                      <a:cubicBezTo>
                        <a:pt x="3" y="7"/>
                        <a:pt x="5" y="5"/>
                        <a:pt x="5" y="7"/>
                      </a:cubicBezTo>
                      <a:cubicBezTo>
                        <a:pt x="6" y="8"/>
                        <a:pt x="4" y="11"/>
                        <a:pt x="5" y="10"/>
                      </a:cubicBezTo>
                      <a:cubicBezTo>
                        <a:pt x="6" y="10"/>
                        <a:pt x="9" y="8"/>
                        <a:pt x="9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2" name="Freeform 130">
                  <a:extLst>
                    <a:ext uri="{FF2B5EF4-FFF2-40B4-BE49-F238E27FC236}">
                      <a16:creationId xmlns:a16="http://schemas.microsoft.com/office/drawing/2014/main" id="{26511413-59CD-F018-EA4A-C8EE6942D84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06639" y="4037013"/>
                  <a:ext cx="25400" cy="41275"/>
                </a:xfrm>
                <a:custGeom>
                  <a:avLst/>
                  <a:gdLst>
                    <a:gd name="T0" fmla="*/ 5 w 6"/>
                    <a:gd name="T1" fmla="*/ 5 h 10"/>
                    <a:gd name="T2" fmla="*/ 5 w 6"/>
                    <a:gd name="T3" fmla="*/ 0 h 10"/>
                    <a:gd name="T4" fmla="*/ 2 w 6"/>
                    <a:gd name="T5" fmla="*/ 3 h 10"/>
                    <a:gd name="T6" fmla="*/ 0 w 6"/>
                    <a:gd name="T7" fmla="*/ 5 h 10"/>
                    <a:gd name="T8" fmla="*/ 1 w 6"/>
                    <a:gd name="T9" fmla="*/ 10 h 10"/>
                    <a:gd name="T10" fmla="*/ 5 w 6"/>
                    <a:gd name="T11" fmla="*/ 5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0">
                      <a:moveTo>
                        <a:pt x="5" y="5"/>
                      </a:moveTo>
                      <a:cubicBezTo>
                        <a:pt x="6" y="2"/>
                        <a:pt x="6" y="0"/>
                        <a:pt x="5" y="0"/>
                      </a:cubicBezTo>
                      <a:cubicBezTo>
                        <a:pt x="4" y="1"/>
                        <a:pt x="3" y="3"/>
                        <a:pt x="2" y="3"/>
                      </a:cubicBezTo>
                      <a:cubicBezTo>
                        <a:pt x="1" y="3"/>
                        <a:pt x="1" y="4"/>
                        <a:pt x="0" y="5"/>
                      </a:cubicBezTo>
                      <a:cubicBezTo>
                        <a:pt x="0" y="6"/>
                        <a:pt x="0" y="10"/>
                        <a:pt x="1" y="10"/>
                      </a:cubicBezTo>
                      <a:cubicBezTo>
                        <a:pt x="2" y="10"/>
                        <a:pt x="3" y="8"/>
                        <a:pt x="5" y="5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3" name="Freeform 131">
                  <a:extLst>
                    <a:ext uri="{FF2B5EF4-FFF2-40B4-BE49-F238E27FC236}">
                      <a16:creationId xmlns:a16="http://schemas.microsoft.com/office/drawing/2014/main" id="{332BE59F-BF1D-EE7A-8565-50F569C7316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6001" y="3978275"/>
                  <a:ext cx="50800" cy="46038"/>
                </a:xfrm>
                <a:custGeom>
                  <a:avLst/>
                  <a:gdLst>
                    <a:gd name="T0" fmla="*/ 3 w 12"/>
                    <a:gd name="T1" fmla="*/ 4 h 11"/>
                    <a:gd name="T2" fmla="*/ 4 w 12"/>
                    <a:gd name="T3" fmla="*/ 8 h 11"/>
                    <a:gd name="T4" fmla="*/ 6 w 12"/>
                    <a:gd name="T5" fmla="*/ 10 h 11"/>
                    <a:gd name="T6" fmla="*/ 10 w 12"/>
                    <a:gd name="T7" fmla="*/ 8 h 11"/>
                    <a:gd name="T8" fmla="*/ 10 w 12"/>
                    <a:gd name="T9" fmla="*/ 5 h 11"/>
                    <a:gd name="T10" fmla="*/ 5 w 12"/>
                    <a:gd name="T11" fmla="*/ 1 h 11"/>
                    <a:gd name="T12" fmla="*/ 1 w 12"/>
                    <a:gd name="T13" fmla="*/ 1 h 11"/>
                    <a:gd name="T14" fmla="*/ 3 w 12"/>
                    <a:gd name="T15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11">
                      <a:moveTo>
                        <a:pt x="3" y="4"/>
                      </a:moveTo>
                      <a:cubicBezTo>
                        <a:pt x="4" y="5"/>
                        <a:pt x="5" y="6"/>
                        <a:pt x="4" y="8"/>
                      </a:cubicBezTo>
                      <a:cubicBezTo>
                        <a:pt x="4" y="10"/>
                        <a:pt x="5" y="11"/>
                        <a:pt x="6" y="10"/>
                      </a:cubicBezTo>
                      <a:cubicBezTo>
                        <a:pt x="7" y="9"/>
                        <a:pt x="9" y="9"/>
                        <a:pt x="10" y="8"/>
                      </a:cubicBezTo>
                      <a:cubicBezTo>
                        <a:pt x="12" y="7"/>
                        <a:pt x="11" y="6"/>
                        <a:pt x="10" y="5"/>
                      </a:cubicBezTo>
                      <a:cubicBezTo>
                        <a:pt x="8" y="4"/>
                        <a:pt x="7" y="2"/>
                        <a:pt x="5" y="1"/>
                      </a:cubicBezTo>
                      <a:cubicBezTo>
                        <a:pt x="4" y="0"/>
                        <a:pt x="2" y="0"/>
                        <a:pt x="1" y="1"/>
                      </a:cubicBezTo>
                      <a:cubicBezTo>
                        <a:pt x="0" y="2"/>
                        <a:pt x="1" y="4"/>
                        <a:pt x="3" y="4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4" name="Freeform 132">
                  <a:extLst>
                    <a:ext uri="{FF2B5EF4-FFF2-40B4-BE49-F238E27FC236}">
                      <a16:creationId xmlns:a16="http://schemas.microsoft.com/office/drawing/2014/main" id="{899B7C1A-9188-CA4F-0D92-C1198630665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601" y="3970338"/>
                  <a:ext cx="25400" cy="15875"/>
                </a:xfrm>
                <a:custGeom>
                  <a:avLst/>
                  <a:gdLst>
                    <a:gd name="T0" fmla="*/ 3 w 6"/>
                    <a:gd name="T1" fmla="*/ 3 h 4"/>
                    <a:gd name="T2" fmla="*/ 4 w 6"/>
                    <a:gd name="T3" fmla="*/ 0 h 4"/>
                    <a:gd name="T4" fmla="*/ 1 w 6"/>
                    <a:gd name="T5" fmla="*/ 4 h 4"/>
                    <a:gd name="T6" fmla="*/ 3 w 6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3" y="3"/>
                      </a:moveTo>
                      <a:cubicBezTo>
                        <a:pt x="4" y="1"/>
                        <a:pt x="6" y="0"/>
                        <a:pt x="4" y="0"/>
                      </a:cubicBezTo>
                      <a:cubicBezTo>
                        <a:pt x="3" y="0"/>
                        <a:pt x="0" y="4"/>
                        <a:pt x="1" y="4"/>
                      </a:cubicBezTo>
                      <a:cubicBezTo>
                        <a:pt x="1" y="4"/>
                        <a:pt x="3" y="3"/>
                        <a:pt x="3" y="3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5" name="Freeform 133">
                  <a:extLst>
                    <a:ext uri="{FF2B5EF4-FFF2-40B4-BE49-F238E27FC236}">
                      <a16:creationId xmlns:a16="http://schemas.microsoft.com/office/drawing/2014/main" id="{33E15E87-1803-7F0C-44C2-F24D77DF749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39964" y="3983038"/>
                  <a:ext cx="17463" cy="23813"/>
                </a:xfrm>
                <a:custGeom>
                  <a:avLst/>
                  <a:gdLst>
                    <a:gd name="T0" fmla="*/ 3 w 4"/>
                    <a:gd name="T1" fmla="*/ 1 h 6"/>
                    <a:gd name="T2" fmla="*/ 2 w 4"/>
                    <a:gd name="T3" fmla="*/ 5 h 6"/>
                    <a:gd name="T4" fmla="*/ 3 w 4"/>
                    <a:gd name="T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6">
                      <a:moveTo>
                        <a:pt x="3" y="1"/>
                      </a:moveTo>
                      <a:cubicBezTo>
                        <a:pt x="2" y="2"/>
                        <a:pt x="0" y="6"/>
                        <a:pt x="2" y="5"/>
                      </a:cubicBezTo>
                      <a:cubicBezTo>
                        <a:pt x="3" y="5"/>
                        <a:pt x="4" y="0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6" name="Freeform 134">
                  <a:extLst>
                    <a:ext uri="{FF2B5EF4-FFF2-40B4-BE49-F238E27FC236}">
                      <a16:creationId xmlns:a16="http://schemas.microsoft.com/office/drawing/2014/main" id="{8A2AD0D5-6539-5BCE-D4A7-71A23C827FD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90764" y="4044950"/>
                  <a:ext cx="15875" cy="12700"/>
                </a:xfrm>
                <a:custGeom>
                  <a:avLst/>
                  <a:gdLst>
                    <a:gd name="T0" fmla="*/ 2 w 4"/>
                    <a:gd name="T1" fmla="*/ 0 h 3"/>
                    <a:gd name="T2" fmla="*/ 1 w 4"/>
                    <a:gd name="T3" fmla="*/ 2 h 3"/>
                    <a:gd name="T4" fmla="*/ 2 w 4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cubicBezTo>
                        <a:pt x="1" y="1"/>
                        <a:pt x="0" y="2"/>
                        <a:pt x="1" y="2"/>
                      </a:cubicBezTo>
                      <a:cubicBezTo>
                        <a:pt x="2" y="3"/>
                        <a:pt x="4" y="0"/>
                        <a:pt x="2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7" name="Freeform 135">
                  <a:extLst>
                    <a:ext uri="{FF2B5EF4-FFF2-40B4-BE49-F238E27FC236}">
                      <a16:creationId xmlns:a16="http://schemas.microsoft.com/office/drawing/2014/main" id="{0D6B015E-6166-9E06-9360-507FCA49C2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90764" y="3952875"/>
                  <a:ext cx="33338" cy="20638"/>
                </a:xfrm>
                <a:custGeom>
                  <a:avLst/>
                  <a:gdLst>
                    <a:gd name="T0" fmla="*/ 6 w 8"/>
                    <a:gd name="T1" fmla="*/ 4 h 5"/>
                    <a:gd name="T2" fmla="*/ 2 w 8"/>
                    <a:gd name="T3" fmla="*/ 3 h 5"/>
                    <a:gd name="T4" fmla="*/ 6 w 8"/>
                    <a:gd name="T5" fmla="*/ 1 h 5"/>
                    <a:gd name="T6" fmla="*/ 6 w 8"/>
                    <a:gd name="T7" fmla="*/ 4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5">
                      <a:moveTo>
                        <a:pt x="6" y="4"/>
                      </a:moveTo>
                      <a:cubicBezTo>
                        <a:pt x="4" y="5"/>
                        <a:pt x="0" y="5"/>
                        <a:pt x="2" y="3"/>
                      </a:cubicBezTo>
                      <a:cubicBezTo>
                        <a:pt x="3" y="0"/>
                        <a:pt x="4" y="1"/>
                        <a:pt x="6" y="1"/>
                      </a:cubicBezTo>
                      <a:cubicBezTo>
                        <a:pt x="8" y="1"/>
                        <a:pt x="8" y="5"/>
                        <a:pt x="6" y="4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8" name="Freeform 136">
                  <a:extLst>
                    <a:ext uri="{FF2B5EF4-FFF2-40B4-BE49-F238E27FC236}">
                      <a16:creationId xmlns:a16="http://schemas.microsoft.com/office/drawing/2014/main" id="{59987EE3-56B3-BC95-10CF-76E3C577A7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81239" y="3916363"/>
                  <a:ext cx="12700" cy="23813"/>
                </a:xfrm>
                <a:custGeom>
                  <a:avLst/>
                  <a:gdLst>
                    <a:gd name="T0" fmla="*/ 2 w 3"/>
                    <a:gd name="T1" fmla="*/ 1 h 6"/>
                    <a:gd name="T2" fmla="*/ 1 w 3"/>
                    <a:gd name="T3" fmla="*/ 4 h 6"/>
                    <a:gd name="T4" fmla="*/ 3 w 3"/>
                    <a:gd name="T5" fmla="*/ 5 h 6"/>
                    <a:gd name="T6" fmla="*/ 2 w 3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2" y="1"/>
                      </a:moveTo>
                      <a:cubicBezTo>
                        <a:pt x="1" y="0"/>
                        <a:pt x="0" y="2"/>
                        <a:pt x="1" y="4"/>
                      </a:cubicBezTo>
                      <a:cubicBezTo>
                        <a:pt x="2" y="6"/>
                        <a:pt x="3" y="6"/>
                        <a:pt x="3" y="5"/>
                      </a:cubicBezTo>
                      <a:cubicBezTo>
                        <a:pt x="3" y="3"/>
                        <a:pt x="3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99" name="Freeform 137">
                  <a:extLst>
                    <a:ext uri="{FF2B5EF4-FFF2-40B4-BE49-F238E27FC236}">
                      <a16:creationId xmlns:a16="http://schemas.microsoft.com/office/drawing/2014/main" id="{817943F2-9CEB-63DE-2DBC-48F7E0EA4CA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60601" y="3836988"/>
                  <a:ext cx="76200" cy="95250"/>
                </a:xfrm>
                <a:custGeom>
                  <a:avLst/>
                  <a:gdLst>
                    <a:gd name="T0" fmla="*/ 11 w 18"/>
                    <a:gd name="T1" fmla="*/ 17 h 23"/>
                    <a:gd name="T2" fmla="*/ 6 w 18"/>
                    <a:gd name="T3" fmla="*/ 16 h 23"/>
                    <a:gd name="T4" fmla="*/ 7 w 18"/>
                    <a:gd name="T5" fmla="*/ 13 h 23"/>
                    <a:gd name="T6" fmla="*/ 4 w 18"/>
                    <a:gd name="T7" fmla="*/ 11 h 23"/>
                    <a:gd name="T8" fmla="*/ 1 w 18"/>
                    <a:gd name="T9" fmla="*/ 10 h 23"/>
                    <a:gd name="T10" fmla="*/ 3 w 18"/>
                    <a:gd name="T11" fmla="*/ 7 h 23"/>
                    <a:gd name="T12" fmla="*/ 4 w 18"/>
                    <a:gd name="T13" fmla="*/ 5 h 23"/>
                    <a:gd name="T14" fmla="*/ 8 w 18"/>
                    <a:gd name="T15" fmla="*/ 5 h 23"/>
                    <a:gd name="T16" fmla="*/ 8 w 18"/>
                    <a:gd name="T17" fmla="*/ 1 h 23"/>
                    <a:gd name="T18" fmla="*/ 10 w 18"/>
                    <a:gd name="T19" fmla="*/ 6 h 23"/>
                    <a:gd name="T20" fmla="*/ 13 w 18"/>
                    <a:gd name="T21" fmla="*/ 7 h 23"/>
                    <a:gd name="T22" fmla="*/ 13 w 18"/>
                    <a:gd name="T23" fmla="*/ 10 h 23"/>
                    <a:gd name="T24" fmla="*/ 13 w 18"/>
                    <a:gd name="T25" fmla="*/ 14 h 23"/>
                    <a:gd name="T26" fmla="*/ 17 w 18"/>
                    <a:gd name="T27" fmla="*/ 15 h 23"/>
                    <a:gd name="T28" fmla="*/ 16 w 18"/>
                    <a:gd name="T29" fmla="*/ 19 h 23"/>
                    <a:gd name="T30" fmla="*/ 12 w 18"/>
                    <a:gd name="T31" fmla="*/ 21 h 23"/>
                    <a:gd name="T32" fmla="*/ 11 w 18"/>
                    <a:gd name="T33" fmla="*/ 17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8" h="23">
                      <a:moveTo>
                        <a:pt x="11" y="17"/>
                      </a:moveTo>
                      <a:cubicBezTo>
                        <a:pt x="9" y="17"/>
                        <a:pt x="8" y="18"/>
                        <a:pt x="6" y="16"/>
                      </a:cubicBezTo>
                      <a:cubicBezTo>
                        <a:pt x="5" y="15"/>
                        <a:pt x="6" y="13"/>
                        <a:pt x="7" y="13"/>
                      </a:cubicBezTo>
                      <a:cubicBezTo>
                        <a:pt x="7" y="12"/>
                        <a:pt x="5" y="10"/>
                        <a:pt x="4" y="11"/>
                      </a:cubicBezTo>
                      <a:cubicBezTo>
                        <a:pt x="2" y="11"/>
                        <a:pt x="0" y="11"/>
                        <a:pt x="1" y="10"/>
                      </a:cubicBezTo>
                      <a:cubicBezTo>
                        <a:pt x="1" y="8"/>
                        <a:pt x="3" y="8"/>
                        <a:pt x="3" y="7"/>
                      </a:cubicBezTo>
                      <a:cubicBezTo>
                        <a:pt x="4" y="7"/>
                        <a:pt x="3" y="5"/>
                        <a:pt x="4" y="5"/>
                      </a:cubicBezTo>
                      <a:cubicBezTo>
                        <a:pt x="6" y="5"/>
                        <a:pt x="8" y="7"/>
                        <a:pt x="8" y="5"/>
                      </a:cubicBezTo>
                      <a:cubicBezTo>
                        <a:pt x="7" y="3"/>
                        <a:pt x="7" y="0"/>
                        <a:pt x="8" y="1"/>
                      </a:cubicBezTo>
                      <a:cubicBezTo>
                        <a:pt x="10" y="2"/>
                        <a:pt x="10" y="5"/>
                        <a:pt x="10" y="6"/>
                      </a:cubicBezTo>
                      <a:cubicBezTo>
                        <a:pt x="11" y="8"/>
                        <a:pt x="12" y="9"/>
                        <a:pt x="13" y="7"/>
                      </a:cubicBezTo>
                      <a:cubicBezTo>
                        <a:pt x="13" y="5"/>
                        <a:pt x="14" y="7"/>
                        <a:pt x="13" y="10"/>
                      </a:cubicBezTo>
                      <a:cubicBezTo>
                        <a:pt x="13" y="12"/>
                        <a:pt x="12" y="13"/>
                        <a:pt x="13" y="14"/>
                      </a:cubicBezTo>
                      <a:cubicBezTo>
                        <a:pt x="14" y="15"/>
                        <a:pt x="17" y="13"/>
                        <a:pt x="17" y="15"/>
                      </a:cubicBezTo>
                      <a:cubicBezTo>
                        <a:pt x="18" y="16"/>
                        <a:pt x="18" y="17"/>
                        <a:pt x="16" y="19"/>
                      </a:cubicBezTo>
                      <a:cubicBezTo>
                        <a:pt x="15" y="20"/>
                        <a:pt x="13" y="23"/>
                        <a:pt x="12" y="21"/>
                      </a:cubicBezTo>
                      <a:cubicBezTo>
                        <a:pt x="12" y="20"/>
                        <a:pt x="13" y="16"/>
                        <a:pt x="11" y="17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0" name="Freeform 138">
                  <a:extLst>
                    <a:ext uri="{FF2B5EF4-FFF2-40B4-BE49-F238E27FC236}">
                      <a16:creationId xmlns:a16="http://schemas.microsoft.com/office/drawing/2014/main" id="{355DDBFF-A576-D947-E619-3556B43B95D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39964" y="3803650"/>
                  <a:ext cx="20638" cy="23813"/>
                </a:xfrm>
                <a:custGeom>
                  <a:avLst/>
                  <a:gdLst>
                    <a:gd name="T0" fmla="*/ 5 w 5"/>
                    <a:gd name="T1" fmla="*/ 1 h 6"/>
                    <a:gd name="T2" fmla="*/ 1 w 5"/>
                    <a:gd name="T3" fmla="*/ 3 h 6"/>
                    <a:gd name="T4" fmla="*/ 4 w 5"/>
                    <a:gd name="T5" fmla="*/ 5 h 6"/>
                    <a:gd name="T6" fmla="*/ 5 w 5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6">
                      <a:moveTo>
                        <a:pt x="5" y="1"/>
                      </a:moveTo>
                      <a:cubicBezTo>
                        <a:pt x="4" y="0"/>
                        <a:pt x="0" y="1"/>
                        <a:pt x="1" y="3"/>
                      </a:cubicBezTo>
                      <a:cubicBezTo>
                        <a:pt x="2" y="6"/>
                        <a:pt x="3" y="6"/>
                        <a:pt x="4" y="5"/>
                      </a:cubicBezTo>
                      <a:cubicBezTo>
                        <a:pt x="5" y="3"/>
                        <a:pt x="5" y="1"/>
                        <a:pt x="5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1" name="Freeform 139">
                  <a:extLst>
                    <a:ext uri="{FF2B5EF4-FFF2-40B4-BE49-F238E27FC236}">
                      <a16:creationId xmlns:a16="http://schemas.microsoft.com/office/drawing/2014/main" id="{BDF1705B-2470-C351-CCF2-C79B54EDA3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11389" y="3836988"/>
                  <a:ext cx="28575" cy="28575"/>
                </a:xfrm>
                <a:custGeom>
                  <a:avLst/>
                  <a:gdLst>
                    <a:gd name="T0" fmla="*/ 4 w 7"/>
                    <a:gd name="T1" fmla="*/ 5 h 7"/>
                    <a:gd name="T2" fmla="*/ 6 w 7"/>
                    <a:gd name="T3" fmla="*/ 1 h 7"/>
                    <a:gd name="T4" fmla="*/ 2 w 7"/>
                    <a:gd name="T5" fmla="*/ 0 h 7"/>
                    <a:gd name="T6" fmla="*/ 1 w 7"/>
                    <a:gd name="T7" fmla="*/ 4 h 7"/>
                    <a:gd name="T8" fmla="*/ 3 w 7"/>
                    <a:gd name="T9" fmla="*/ 5 h 7"/>
                    <a:gd name="T10" fmla="*/ 4 w 7"/>
                    <a:gd name="T11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4" y="5"/>
                      </a:moveTo>
                      <a:cubicBezTo>
                        <a:pt x="7" y="4"/>
                        <a:pt x="7" y="1"/>
                        <a:pt x="6" y="1"/>
                      </a:cubicBezTo>
                      <a:cubicBezTo>
                        <a:pt x="5" y="0"/>
                        <a:pt x="4" y="0"/>
                        <a:pt x="2" y="0"/>
                      </a:cubicBezTo>
                      <a:cubicBezTo>
                        <a:pt x="0" y="1"/>
                        <a:pt x="0" y="3"/>
                        <a:pt x="1" y="4"/>
                      </a:cubicBezTo>
                      <a:cubicBezTo>
                        <a:pt x="1" y="4"/>
                        <a:pt x="3" y="3"/>
                        <a:pt x="3" y="5"/>
                      </a:cubicBezTo>
                      <a:cubicBezTo>
                        <a:pt x="2" y="7"/>
                        <a:pt x="4" y="5"/>
                        <a:pt x="4" y="5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2" name="Freeform 140">
                  <a:extLst>
                    <a:ext uri="{FF2B5EF4-FFF2-40B4-BE49-F238E27FC236}">
                      <a16:creationId xmlns:a16="http://schemas.microsoft.com/office/drawing/2014/main" id="{AAAB13AC-079B-FD3A-E3F7-172E115E395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11389" y="3873500"/>
                  <a:ext cx="25400" cy="50800"/>
                </a:xfrm>
                <a:custGeom>
                  <a:avLst/>
                  <a:gdLst>
                    <a:gd name="T0" fmla="*/ 4 w 6"/>
                    <a:gd name="T1" fmla="*/ 1 h 12"/>
                    <a:gd name="T2" fmla="*/ 5 w 6"/>
                    <a:gd name="T3" fmla="*/ 4 h 12"/>
                    <a:gd name="T4" fmla="*/ 3 w 6"/>
                    <a:gd name="T5" fmla="*/ 7 h 12"/>
                    <a:gd name="T6" fmla="*/ 5 w 6"/>
                    <a:gd name="T7" fmla="*/ 10 h 12"/>
                    <a:gd name="T8" fmla="*/ 2 w 6"/>
                    <a:gd name="T9" fmla="*/ 10 h 12"/>
                    <a:gd name="T10" fmla="*/ 0 w 6"/>
                    <a:gd name="T11" fmla="*/ 5 h 12"/>
                    <a:gd name="T12" fmla="*/ 1 w 6"/>
                    <a:gd name="T13" fmla="*/ 1 h 12"/>
                    <a:gd name="T14" fmla="*/ 4 w 6"/>
                    <a:gd name="T15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4" y="1"/>
                      </a:moveTo>
                      <a:cubicBezTo>
                        <a:pt x="5" y="2"/>
                        <a:pt x="6" y="3"/>
                        <a:pt x="5" y="4"/>
                      </a:cubicBezTo>
                      <a:cubicBezTo>
                        <a:pt x="4" y="5"/>
                        <a:pt x="3" y="5"/>
                        <a:pt x="3" y="7"/>
                      </a:cubicBezTo>
                      <a:cubicBezTo>
                        <a:pt x="4" y="8"/>
                        <a:pt x="5" y="8"/>
                        <a:pt x="5" y="10"/>
                      </a:cubicBezTo>
                      <a:cubicBezTo>
                        <a:pt x="4" y="11"/>
                        <a:pt x="3" y="12"/>
                        <a:pt x="2" y="10"/>
                      </a:cubicBezTo>
                      <a:cubicBezTo>
                        <a:pt x="1" y="8"/>
                        <a:pt x="0" y="7"/>
                        <a:pt x="0" y="5"/>
                      </a:cubicBezTo>
                      <a:cubicBezTo>
                        <a:pt x="1" y="3"/>
                        <a:pt x="0" y="3"/>
                        <a:pt x="1" y="1"/>
                      </a:cubicBezTo>
                      <a:cubicBezTo>
                        <a:pt x="2" y="0"/>
                        <a:pt x="4" y="1"/>
                        <a:pt x="4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3" name="Freeform 141">
                  <a:extLst>
                    <a:ext uri="{FF2B5EF4-FFF2-40B4-BE49-F238E27FC236}">
                      <a16:creationId xmlns:a16="http://schemas.microsoft.com/office/drawing/2014/main" id="{886EC6B9-3B83-B18A-2F90-0EA17984D57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06626" y="3924300"/>
                  <a:ext cx="7938" cy="12700"/>
                </a:xfrm>
                <a:custGeom>
                  <a:avLst/>
                  <a:gdLst>
                    <a:gd name="T0" fmla="*/ 1 w 2"/>
                    <a:gd name="T1" fmla="*/ 0 h 3"/>
                    <a:gd name="T2" fmla="*/ 1 w 2"/>
                    <a:gd name="T3" fmla="*/ 3 h 3"/>
                    <a:gd name="T4" fmla="*/ 1 w 2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3">
                      <a:moveTo>
                        <a:pt x="1" y="0"/>
                      </a:moveTo>
                      <a:cubicBezTo>
                        <a:pt x="0" y="1"/>
                        <a:pt x="0" y="3"/>
                        <a:pt x="1" y="3"/>
                      </a:cubicBezTo>
                      <a:cubicBezTo>
                        <a:pt x="2" y="3"/>
                        <a:pt x="2" y="0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4" name="Freeform 142">
                  <a:extLst>
                    <a:ext uri="{FF2B5EF4-FFF2-40B4-BE49-F238E27FC236}">
                      <a16:creationId xmlns:a16="http://schemas.microsoft.com/office/drawing/2014/main" id="{1F2F83DD-D603-0D8E-0B92-C63624ECF0A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239964" y="3711575"/>
                  <a:ext cx="66675" cy="95250"/>
                </a:xfrm>
                <a:custGeom>
                  <a:avLst/>
                  <a:gdLst>
                    <a:gd name="T0" fmla="*/ 2 w 16"/>
                    <a:gd name="T1" fmla="*/ 13 h 23"/>
                    <a:gd name="T2" fmla="*/ 1 w 16"/>
                    <a:gd name="T3" fmla="*/ 14 h 23"/>
                    <a:gd name="T4" fmla="*/ 2 w 16"/>
                    <a:gd name="T5" fmla="*/ 18 h 23"/>
                    <a:gd name="T6" fmla="*/ 1 w 16"/>
                    <a:gd name="T7" fmla="*/ 20 h 23"/>
                    <a:gd name="T8" fmla="*/ 4 w 16"/>
                    <a:gd name="T9" fmla="*/ 22 h 23"/>
                    <a:gd name="T10" fmla="*/ 6 w 16"/>
                    <a:gd name="T11" fmla="*/ 21 h 23"/>
                    <a:gd name="T12" fmla="*/ 7 w 16"/>
                    <a:gd name="T13" fmla="*/ 17 h 23"/>
                    <a:gd name="T14" fmla="*/ 7 w 16"/>
                    <a:gd name="T15" fmla="*/ 22 h 23"/>
                    <a:gd name="T16" fmla="*/ 10 w 16"/>
                    <a:gd name="T17" fmla="*/ 21 h 23"/>
                    <a:gd name="T18" fmla="*/ 12 w 16"/>
                    <a:gd name="T19" fmla="*/ 17 h 23"/>
                    <a:gd name="T20" fmla="*/ 11 w 16"/>
                    <a:gd name="T21" fmla="*/ 15 h 23"/>
                    <a:gd name="T22" fmla="*/ 14 w 16"/>
                    <a:gd name="T23" fmla="*/ 12 h 23"/>
                    <a:gd name="T24" fmla="*/ 14 w 16"/>
                    <a:gd name="T25" fmla="*/ 9 h 23"/>
                    <a:gd name="T26" fmla="*/ 16 w 16"/>
                    <a:gd name="T27" fmla="*/ 3 h 23"/>
                    <a:gd name="T28" fmla="*/ 14 w 16"/>
                    <a:gd name="T29" fmla="*/ 2 h 23"/>
                    <a:gd name="T30" fmla="*/ 8 w 16"/>
                    <a:gd name="T31" fmla="*/ 7 h 23"/>
                    <a:gd name="T32" fmla="*/ 5 w 16"/>
                    <a:gd name="T33" fmla="*/ 10 h 23"/>
                    <a:gd name="T34" fmla="*/ 2 w 16"/>
                    <a:gd name="T35" fmla="*/ 1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6" h="23">
                      <a:moveTo>
                        <a:pt x="2" y="13"/>
                      </a:moveTo>
                      <a:cubicBezTo>
                        <a:pt x="2" y="11"/>
                        <a:pt x="1" y="13"/>
                        <a:pt x="1" y="14"/>
                      </a:cubicBezTo>
                      <a:cubicBezTo>
                        <a:pt x="0" y="16"/>
                        <a:pt x="1" y="18"/>
                        <a:pt x="2" y="18"/>
                      </a:cubicBezTo>
                      <a:cubicBezTo>
                        <a:pt x="2" y="18"/>
                        <a:pt x="2" y="19"/>
                        <a:pt x="1" y="20"/>
                      </a:cubicBezTo>
                      <a:cubicBezTo>
                        <a:pt x="1" y="21"/>
                        <a:pt x="3" y="21"/>
                        <a:pt x="4" y="22"/>
                      </a:cubicBezTo>
                      <a:cubicBezTo>
                        <a:pt x="5" y="23"/>
                        <a:pt x="6" y="22"/>
                        <a:pt x="6" y="21"/>
                      </a:cubicBezTo>
                      <a:cubicBezTo>
                        <a:pt x="7" y="20"/>
                        <a:pt x="7" y="18"/>
                        <a:pt x="7" y="17"/>
                      </a:cubicBezTo>
                      <a:cubicBezTo>
                        <a:pt x="8" y="17"/>
                        <a:pt x="6" y="21"/>
                        <a:pt x="7" y="22"/>
                      </a:cubicBezTo>
                      <a:cubicBezTo>
                        <a:pt x="8" y="23"/>
                        <a:pt x="9" y="22"/>
                        <a:pt x="10" y="21"/>
                      </a:cubicBezTo>
                      <a:cubicBezTo>
                        <a:pt x="11" y="19"/>
                        <a:pt x="12" y="19"/>
                        <a:pt x="12" y="17"/>
                      </a:cubicBezTo>
                      <a:cubicBezTo>
                        <a:pt x="11" y="16"/>
                        <a:pt x="9" y="16"/>
                        <a:pt x="11" y="15"/>
                      </a:cubicBezTo>
                      <a:cubicBezTo>
                        <a:pt x="13" y="14"/>
                        <a:pt x="13" y="14"/>
                        <a:pt x="14" y="12"/>
                      </a:cubicBezTo>
                      <a:cubicBezTo>
                        <a:pt x="15" y="10"/>
                        <a:pt x="12" y="10"/>
                        <a:pt x="14" y="9"/>
                      </a:cubicBezTo>
                      <a:cubicBezTo>
                        <a:pt x="15" y="8"/>
                        <a:pt x="16" y="6"/>
                        <a:pt x="16" y="3"/>
                      </a:cubicBezTo>
                      <a:cubicBezTo>
                        <a:pt x="16" y="1"/>
                        <a:pt x="15" y="0"/>
                        <a:pt x="14" y="2"/>
                      </a:cubicBezTo>
                      <a:cubicBezTo>
                        <a:pt x="12" y="3"/>
                        <a:pt x="10" y="6"/>
                        <a:pt x="8" y="7"/>
                      </a:cubicBezTo>
                      <a:cubicBezTo>
                        <a:pt x="7" y="7"/>
                        <a:pt x="4" y="7"/>
                        <a:pt x="5" y="10"/>
                      </a:cubicBezTo>
                      <a:cubicBezTo>
                        <a:pt x="5" y="13"/>
                        <a:pt x="4" y="16"/>
                        <a:pt x="2" y="1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5" name="Freeform 143">
                  <a:extLst>
                    <a:ext uri="{FF2B5EF4-FFF2-40B4-BE49-F238E27FC236}">
                      <a16:creationId xmlns:a16="http://schemas.microsoft.com/office/drawing/2014/main" id="{ECCE9D2D-9C83-36E7-6A66-46924575303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03489" y="3619500"/>
                  <a:ext cx="46038" cy="50800"/>
                </a:xfrm>
                <a:custGeom>
                  <a:avLst/>
                  <a:gdLst>
                    <a:gd name="T0" fmla="*/ 6 w 11"/>
                    <a:gd name="T1" fmla="*/ 6 h 12"/>
                    <a:gd name="T2" fmla="*/ 10 w 11"/>
                    <a:gd name="T3" fmla="*/ 8 h 12"/>
                    <a:gd name="T4" fmla="*/ 9 w 11"/>
                    <a:gd name="T5" fmla="*/ 12 h 12"/>
                    <a:gd name="T6" fmla="*/ 6 w 11"/>
                    <a:gd name="T7" fmla="*/ 10 h 12"/>
                    <a:gd name="T8" fmla="*/ 3 w 11"/>
                    <a:gd name="T9" fmla="*/ 10 h 12"/>
                    <a:gd name="T10" fmla="*/ 0 w 11"/>
                    <a:gd name="T11" fmla="*/ 5 h 12"/>
                    <a:gd name="T12" fmla="*/ 2 w 11"/>
                    <a:gd name="T13" fmla="*/ 1 h 12"/>
                    <a:gd name="T14" fmla="*/ 6 w 11"/>
                    <a:gd name="T15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12">
                      <a:moveTo>
                        <a:pt x="6" y="6"/>
                      </a:moveTo>
                      <a:cubicBezTo>
                        <a:pt x="8" y="7"/>
                        <a:pt x="9" y="8"/>
                        <a:pt x="10" y="8"/>
                      </a:cubicBezTo>
                      <a:cubicBezTo>
                        <a:pt x="11" y="9"/>
                        <a:pt x="9" y="11"/>
                        <a:pt x="9" y="12"/>
                      </a:cubicBezTo>
                      <a:cubicBezTo>
                        <a:pt x="8" y="12"/>
                        <a:pt x="7" y="11"/>
                        <a:pt x="6" y="10"/>
                      </a:cubicBezTo>
                      <a:cubicBezTo>
                        <a:pt x="5" y="10"/>
                        <a:pt x="4" y="10"/>
                        <a:pt x="3" y="10"/>
                      </a:cubicBezTo>
                      <a:cubicBezTo>
                        <a:pt x="2" y="10"/>
                        <a:pt x="1" y="7"/>
                        <a:pt x="0" y="5"/>
                      </a:cubicBezTo>
                      <a:cubicBezTo>
                        <a:pt x="0" y="3"/>
                        <a:pt x="1" y="0"/>
                        <a:pt x="2" y="1"/>
                      </a:cubicBezTo>
                      <a:cubicBezTo>
                        <a:pt x="3" y="2"/>
                        <a:pt x="4" y="6"/>
                        <a:pt x="6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6" name="Freeform 144">
                  <a:extLst>
                    <a:ext uri="{FF2B5EF4-FFF2-40B4-BE49-F238E27FC236}">
                      <a16:creationId xmlns:a16="http://schemas.microsoft.com/office/drawing/2014/main" id="{149079AD-E003-BE1B-43BF-B56FD8C2ED8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24126" y="3670300"/>
                  <a:ext cx="12700" cy="20638"/>
                </a:xfrm>
                <a:custGeom>
                  <a:avLst/>
                  <a:gdLst>
                    <a:gd name="T0" fmla="*/ 1 w 3"/>
                    <a:gd name="T1" fmla="*/ 1 h 5"/>
                    <a:gd name="T2" fmla="*/ 1 w 3"/>
                    <a:gd name="T3" fmla="*/ 5 h 5"/>
                    <a:gd name="T4" fmla="*/ 1 w 3"/>
                    <a:gd name="T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5">
                      <a:moveTo>
                        <a:pt x="1" y="1"/>
                      </a:moveTo>
                      <a:cubicBezTo>
                        <a:pt x="0" y="2"/>
                        <a:pt x="0" y="5"/>
                        <a:pt x="1" y="5"/>
                      </a:cubicBezTo>
                      <a:cubicBezTo>
                        <a:pt x="3" y="5"/>
                        <a:pt x="3" y="0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7" name="Freeform 145">
                  <a:extLst>
                    <a:ext uri="{FF2B5EF4-FFF2-40B4-BE49-F238E27FC236}">
                      <a16:creationId xmlns:a16="http://schemas.microsoft.com/office/drawing/2014/main" id="{80D80E35-065A-D8AE-4593-834CA9DFC63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498726" y="3657600"/>
                  <a:ext cx="12700" cy="28575"/>
                </a:xfrm>
                <a:custGeom>
                  <a:avLst/>
                  <a:gdLst>
                    <a:gd name="T0" fmla="*/ 2 w 3"/>
                    <a:gd name="T1" fmla="*/ 0 h 7"/>
                    <a:gd name="T2" fmla="*/ 1 w 3"/>
                    <a:gd name="T3" fmla="*/ 4 h 7"/>
                    <a:gd name="T4" fmla="*/ 3 w 3"/>
                    <a:gd name="T5" fmla="*/ 5 h 7"/>
                    <a:gd name="T6" fmla="*/ 2 w 3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cubicBezTo>
                        <a:pt x="1" y="0"/>
                        <a:pt x="0" y="1"/>
                        <a:pt x="1" y="4"/>
                      </a:cubicBezTo>
                      <a:cubicBezTo>
                        <a:pt x="1" y="7"/>
                        <a:pt x="2" y="7"/>
                        <a:pt x="3" y="5"/>
                      </a:cubicBezTo>
                      <a:cubicBezTo>
                        <a:pt x="3" y="4"/>
                        <a:pt x="3" y="2"/>
                        <a:pt x="2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8" name="Freeform 146">
                  <a:extLst>
                    <a:ext uri="{FF2B5EF4-FFF2-40B4-BE49-F238E27FC236}">
                      <a16:creationId xmlns:a16="http://schemas.microsoft.com/office/drawing/2014/main" id="{21D7F175-562C-3D92-DFDE-0FBBEE6AAD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24126" y="3586163"/>
                  <a:ext cx="15875" cy="33338"/>
                </a:xfrm>
                <a:custGeom>
                  <a:avLst/>
                  <a:gdLst>
                    <a:gd name="T0" fmla="*/ 2 w 4"/>
                    <a:gd name="T1" fmla="*/ 2 h 8"/>
                    <a:gd name="T2" fmla="*/ 1 w 4"/>
                    <a:gd name="T3" fmla="*/ 6 h 8"/>
                    <a:gd name="T4" fmla="*/ 3 w 4"/>
                    <a:gd name="T5" fmla="*/ 7 h 8"/>
                    <a:gd name="T6" fmla="*/ 2 w 4"/>
                    <a:gd name="T7" fmla="*/ 2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8">
                      <a:moveTo>
                        <a:pt x="2" y="2"/>
                      </a:moveTo>
                      <a:cubicBezTo>
                        <a:pt x="1" y="0"/>
                        <a:pt x="0" y="3"/>
                        <a:pt x="1" y="6"/>
                      </a:cubicBezTo>
                      <a:cubicBezTo>
                        <a:pt x="1" y="8"/>
                        <a:pt x="2" y="8"/>
                        <a:pt x="3" y="7"/>
                      </a:cubicBezTo>
                      <a:cubicBezTo>
                        <a:pt x="4" y="7"/>
                        <a:pt x="3" y="4"/>
                        <a:pt x="2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09" name="Freeform 147">
                  <a:extLst>
                    <a:ext uri="{FF2B5EF4-FFF2-40B4-BE49-F238E27FC236}">
                      <a16:creationId xmlns:a16="http://schemas.microsoft.com/office/drawing/2014/main" id="{C6C12310-2F28-A4D9-8E8D-E9669D49169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36826" y="3611563"/>
                  <a:ext cx="7938" cy="20638"/>
                </a:xfrm>
                <a:custGeom>
                  <a:avLst/>
                  <a:gdLst>
                    <a:gd name="T0" fmla="*/ 1 w 2"/>
                    <a:gd name="T1" fmla="*/ 1 h 5"/>
                    <a:gd name="T2" fmla="*/ 1 w 2"/>
                    <a:gd name="T3" fmla="*/ 4 h 5"/>
                    <a:gd name="T4" fmla="*/ 1 w 2"/>
                    <a:gd name="T5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5">
                      <a:moveTo>
                        <a:pt x="1" y="1"/>
                      </a:moveTo>
                      <a:cubicBezTo>
                        <a:pt x="0" y="0"/>
                        <a:pt x="0" y="4"/>
                        <a:pt x="1" y="4"/>
                      </a:cubicBezTo>
                      <a:cubicBezTo>
                        <a:pt x="2" y="5"/>
                        <a:pt x="2" y="1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0" name="Freeform 148">
                  <a:extLst>
                    <a:ext uri="{FF2B5EF4-FFF2-40B4-BE49-F238E27FC236}">
                      <a16:creationId xmlns:a16="http://schemas.microsoft.com/office/drawing/2014/main" id="{5EA5F65A-890E-5600-F2BD-4D488F60D4C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4764" y="3603625"/>
                  <a:ext cx="20638" cy="20638"/>
                </a:xfrm>
                <a:custGeom>
                  <a:avLst/>
                  <a:gdLst>
                    <a:gd name="T0" fmla="*/ 3 w 5"/>
                    <a:gd name="T1" fmla="*/ 0 h 5"/>
                    <a:gd name="T2" fmla="*/ 1 w 5"/>
                    <a:gd name="T3" fmla="*/ 3 h 5"/>
                    <a:gd name="T4" fmla="*/ 3 w 5"/>
                    <a:gd name="T5" fmla="*/ 3 h 5"/>
                    <a:gd name="T6" fmla="*/ 3 w 5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3" y="0"/>
                      </a:moveTo>
                      <a:cubicBezTo>
                        <a:pt x="2" y="0"/>
                        <a:pt x="2" y="2"/>
                        <a:pt x="1" y="3"/>
                      </a:cubicBezTo>
                      <a:cubicBezTo>
                        <a:pt x="0" y="5"/>
                        <a:pt x="2" y="4"/>
                        <a:pt x="3" y="3"/>
                      </a:cubicBezTo>
                      <a:cubicBezTo>
                        <a:pt x="5" y="2"/>
                        <a:pt x="5" y="0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1" name="Freeform 149">
                  <a:extLst>
                    <a:ext uri="{FF2B5EF4-FFF2-40B4-BE49-F238E27FC236}">
                      <a16:creationId xmlns:a16="http://schemas.microsoft.com/office/drawing/2014/main" id="{BCCB9760-DFFC-329C-A12F-4D92064E4EF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544764" y="3627438"/>
                  <a:ext cx="15875" cy="9525"/>
                </a:xfrm>
                <a:custGeom>
                  <a:avLst/>
                  <a:gdLst>
                    <a:gd name="T0" fmla="*/ 3 w 4"/>
                    <a:gd name="T1" fmla="*/ 0 h 2"/>
                    <a:gd name="T2" fmla="*/ 2 w 4"/>
                    <a:gd name="T3" fmla="*/ 2 h 2"/>
                    <a:gd name="T4" fmla="*/ 4 w 4"/>
                    <a:gd name="T5" fmla="*/ 1 h 2"/>
                    <a:gd name="T6" fmla="*/ 3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3" y="0"/>
                      </a:moveTo>
                      <a:cubicBezTo>
                        <a:pt x="2" y="0"/>
                        <a:pt x="0" y="2"/>
                        <a:pt x="2" y="2"/>
                      </a:cubicBezTo>
                      <a:cubicBezTo>
                        <a:pt x="3" y="2"/>
                        <a:pt x="4" y="2"/>
                        <a:pt x="4" y="1"/>
                      </a:cubicBezTo>
                      <a:cubicBezTo>
                        <a:pt x="4" y="0"/>
                        <a:pt x="4" y="1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2" name="Freeform 150">
                  <a:extLst>
                    <a:ext uri="{FF2B5EF4-FFF2-40B4-BE49-F238E27FC236}">
                      <a16:creationId xmlns:a16="http://schemas.microsoft.com/office/drawing/2014/main" id="{73A39E39-7E37-C500-241A-30D9145E42B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16201" y="3424238"/>
                  <a:ext cx="46038" cy="95250"/>
                </a:xfrm>
                <a:custGeom>
                  <a:avLst/>
                  <a:gdLst>
                    <a:gd name="T0" fmla="*/ 8 w 11"/>
                    <a:gd name="T1" fmla="*/ 0 h 23"/>
                    <a:gd name="T2" fmla="*/ 9 w 11"/>
                    <a:gd name="T3" fmla="*/ 3 h 23"/>
                    <a:gd name="T4" fmla="*/ 11 w 11"/>
                    <a:gd name="T5" fmla="*/ 6 h 23"/>
                    <a:gd name="T6" fmla="*/ 10 w 11"/>
                    <a:gd name="T7" fmla="*/ 12 h 23"/>
                    <a:gd name="T8" fmla="*/ 8 w 11"/>
                    <a:gd name="T9" fmla="*/ 19 h 23"/>
                    <a:gd name="T10" fmla="*/ 7 w 11"/>
                    <a:gd name="T11" fmla="*/ 23 h 23"/>
                    <a:gd name="T12" fmla="*/ 6 w 11"/>
                    <a:gd name="T13" fmla="*/ 19 h 23"/>
                    <a:gd name="T14" fmla="*/ 7 w 11"/>
                    <a:gd name="T15" fmla="*/ 13 h 23"/>
                    <a:gd name="T16" fmla="*/ 4 w 11"/>
                    <a:gd name="T17" fmla="*/ 10 h 23"/>
                    <a:gd name="T18" fmla="*/ 1 w 11"/>
                    <a:gd name="T19" fmla="*/ 9 h 23"/>
                    <a:gd name="T20" fmla="*/ 3 w 11"/>
                    <a:gd name="T21" fmla="*/ 6 h 23"/>
                    <a:gd name="T22" fmla="*/ 7 w 11"/>
                    <a:gd name="T23" fmla="*/ 6 h 23"/>
                    <a:gd name="T24" fmla="*/ 8 w 11"/>
                    <a:gd name="T25" fmla="*/ 0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23">
                      <a:moveTo>
                        <a:pt x="8" y="0"/>
                      </a:moveTo>
                      <a:cubicBezTo>
                        <a:pt x="8" y="2"/>
                        <a:pt x="8" y="3"/>
                        <a:pt x="9" y="3"/>
                      </a:cubicBezTo>
                      <a:cubicBezTo>
                        <a:pt x="11" y="4"/>
                        <a:pt x="11" y="4"/>
                        <a:pt x="11" y="6"/>
                      </a:cubicBezTo>
                      <a:cubicBezTo>
                        <a:pt x="11" y="8"/>
                        <a:pt x="11" y="9"/>
                        <a:pt x="10" y="12"/>
                      </a:cubicBezTo>
                      <a:cubicBezTo>
                        <a:pt x="9" y="15"/>
                        <a:pt x="9" y="16"/>
                        <a:pt x="8" y="19"/>
                      </a:cubicBezTo>
                      <a:cubicBezTo>
                        <a:pt x="8" y="21"/>
                        <a:pt x="8" y="23"/>
                        <a:pt x="7" y="23"/>
                      </a:cubicBezTo>
                      <a:cubicBezTo>
                        <a:pt x="6" y="22"/>
                        <a:pt x="5" y="21"/>
                        <a:pt x="6" y="19"/>
                      </a:cubicBezTo>
                      <a:cubicBezTo>
                        <a:pt x="7" y="16"/>
                        <a:pt x="7" y="16"/>
                        <a:pt x="7" y="13"/>
                      </a:cubicBezTo>
                      <a:cubicBezTo>
                        <a:pt x="6" y="11"/>
                        <a:pt x="5" y="10"/>
                        <a:pt x="4" y="10"/>
                      </a:cubicBezTo>
                      <a:cubicBezTo>
                        <a:pt x="2" y="10"/>
                        <a:pt x="1" y="10"/>
                        <a:pt x="1" y="9"/>
                      </a:cubicBezTo>
                      <a:cubicBezTo>
                        <a:pt x="0" y="8"/>
                        <a:pt x="1" y="5"/>
                        <a:pt x="3" y="6"/>
                      </a:cubicBezTo>
                      <a:cubicBezTo>
                        <a:pt x="5" y="7"/>
                        <a:pt x="6" y="8"/>
                        <a:pt x="7" y="6"/>
                      </a:cubicBezTo>
                      <a:cubicBezTo>
                        <a:pt x="7" y="4"/>
                        <a:pt x="8" y="0"/>
                        <a:pt x="8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3" name="Freeform 151">
                  <a:extLst>
                    <a:ext uri="{FF2B5EF4-FFF2-40B4-BE49-F238E27FC236}">
                      <a16:creationId xmlns:a16="http://schemas.microsoft.com/office/drawing/2014/main" id="{8A784263-E908-ADEC-662C-8DE954125D5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24139" y="3398838"/>
                  <a:ext cx="25400" cy="46038"/>
                </a:xfrm>
                <a:custGeom>
                  <a:avLst/>
                  <a:gdLst>
                    <a:gd name="T0" fmla="*/ 3 w 6"/>
                    <a:gd name="T1" fmla="*/ 10 h 11"/>
                    <a:gd name="T2" fmla="*/ 1 w 6"/>
                    <a:gd name="T3" fmla="*/ 5 h 11"/>
                    <a:gd name="T4" fmla="*/ 3 w 6"/>
                    <a:gd name="T5" fmla="*/ 3 h 11"/>
                    <a:gd name="T6" fmla="*/ 5 w 6"/>
                    <a:gd name="T7" fmla="*/ 0 h 11"/>
                    <a:gd name="T8" fmla="*/ 5 w 6"/>
                    <a:gd name="T9" fmla="*/ 5 h 11"/>
                    <a:gd name="T10" fmla="*/ 3 w 6"/>
                    <a:gd name="T11" fmla="*/ 1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1">
                      <a:moveTo>
                        <a:pt x="3" y="10"/>
                      </a:moveTo>
                      <a:cubicBezTo>
                        <a:pt x="2" y="8"/>
                        <a:pt x="0" y="7"/>
                        <a:pt x="1" y="5"/>
                      </a:cubicBezTo>
                      <a:cubicBezTo>
                        <a:pt x="2" y="4"/>
                        <a:pt x="2" y="6"/>
                        <a:pt x="3" y="3"/>
                      </a:cubicBezTo>
                      <a:cubicBezTo>
                        <a:pt x="4" y="1"/>
                        <a:pt x="5" y="0"/>
                        <a:pt x="5" y="0"/>
                      </a:cubicBezTo>
                      <a:cubicBezTo>
                        <a:pt x="5" y="0"/>
                        <a:pt x="6" y="0"/>
                        <a:pt x="5" y="5"/>
                      </a:cubicBezTo>
                      <a:cubicBezTo>
                        <a:pt x="3" y="10"/>
                        <a:pt x="4" y="11"/>
                        <a:pt x="3" y="1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4" name="Freeform 152">
                  <a:extLst>
                    <a:ext uri="{FF2B5EF4-FFF2-40B4-BE49-F238E27FC236}">
                      <a16:creationId xmlns:a16="http://schemas.microsoft.com/office/drawing/2014/main" id="{5E65E2D2-3EA0-5BA7-0DB0-E109898B805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52714" y="3389313"/>
                  <a:ext cx="12700" cy="34925"/>
                </a:xfrm>
                <a:custGeom>
                  <a:avLst/>
                  <a:gdLst>
                    <a:gd name="T0" fmla="*/ 2 w 3"/>
                    <a:gd name="T1" fmla="*/ 1 h 8"/>
                    <a:gd name="T2" fmla="*/ 1 w 3"/>
                    <a:gd name="T3" fmla="*/ 4 h 8"/>
                    <a:gd name="T4" fmla="*/ 2 w 3"/>
                    <a:gd name="T5" fmla="*/ 7 h 8"/>
                    <a:gd name="T6" fmla="*/ 2 w 3"/>
                    <a:gd name="T7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8">
                      <a:moveTo>
                        <a:pt x="2" y="1"/>
                      </a:moveTo>
                      <a:cubicBezTo>
                        <a:pt x="1" y="0"/>
                        <a:pt x="0" y="1"/>
                        <a:pt x="1" y="4"/>
                      </a:cubicBezTo>
                      <a:cubicBezTo>
                        <a:pt x="1" y="7"/>
                        <a:pt x="1" y="8"/>
                        <a:pt x="2" y="7"/>
                      </a:cubicBezTo>
                      <a:cubicBezTo>
                        <a:pt x="3" y="6"/>
                        <a:pt x="3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5" name="Freeform 153">
                  <a:extLst>
                    <a:ext uri="{FF2B5EF4-FFF2-40B4-BE49-F238E27FC236}">
                      <a16:creationId xmlns:a16="http://schemas.microsoft.com/office/drawing/2014/main" id="{8D11C09C-2128-27A8-0B46-179D5C3A09F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5414" y="3368675"/>
                  <a:ext cx="12700" cy="30163"/>
                </a:xfrm>
                <a:custGeom>
                  <a:avLst/>
                  <a:gdLst>
                    <a:gd name="T0" fmla="*/ 1 w 3"/>
                    <a:gd name="T1" fmla="*/ 0 h 7"/>
                    <a:gd name="T2" fmla="*/ 1 w 3"/>
                    <a:gd name="T3" fmla="*/ 5 h 7"/>
                    <a:gd name="T4" fmla="*/ 3 w 3"/>
                    <a:gd name="T5" fmla="*/ 5 h 7"/>
                    <a:gd name="T6" fmla="*/ 1 w 3"/>
                    <a:gd name="T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7">
                      <a:moveTo>
                        <a:pt x="1" y="0"/>
                      </a:moveTo>
                      <a:cubicBezTo>
                        <a:pt x="1" y="0"/>
                        <a:pt x="0" y="4"/>
                        <a:pt x="1" y="5"/>
                      </a:cubicBezTo>
                      <a:cubicBezTo>
                        <a:pt x="2" y="7"/>
                        <a:pt x="3" y="7"/>
                        <a:pt x="3" y="5"/>
                      </a:cubicBezTo>
                      <a:cubicBezTo>
                        <a:pt x="3" y="3"/>
                        <a:pt x="3" y="1"/>
                        <a:pt x="1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616" name="Freeform 154">
                  <a:extLst>
                    <a:ext uri="{FF2B5EF4-FFF2-40B4-BE49-F238E27FC236}">
                      <a16:creationId xmlns:a16="http://schemas.microsoft.com/office/drawing/2014/main" id="{160B4948-93B8-3869-35C1-4D2EFE49440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665414" y="3402013"/>
                  <a:ext cx="17463" cy="12700"/>
                </a:xfrm>
                <a:custGeom>
                  <a:avLst/>
                  <a:gdLst>
                    <a:gd name="T0" fmla="*/ 2 w 4"/>
                    <a:gd name="T1" fmla="*/ 0 h 3"/>
                    <a:gd name="T2" fmla="*/ 2 w 4"/>
                    <a:gd name="T3" fmla="*/ 3 h 3"/>
                    <a:gd name="T4" fmla="*/ 2 w 4"/>
                    <a:gd name="T5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cubicBezTo>
                        <a:pt x="1" y="0"/>
                        <a:pt x="0" y="2"/>
                        <a:pt x="2" y="3"/>
                      </a:cubicBezTo>
                      <a:cubicBezTo>
                        <a:pt x="3" y="3"/>
                        <a:pt x="4" y="1"/>
                        <a:pt x="2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513" name="Gruppieren 298">
                <a:extLst>
                  <a:ext uri="{FF2B5EF4-FFF2-40B4-BE49-F238E27FC236}">
                    <a16:creationId xmlns:a16="http://schemas.microsoft.com/office/drawing/2014/main" id="{3E2EE8AD-48EC-9377-55F0-30A978B1A788}"/>
                  </a:ext>
                </a:extLst>
              </p:cNvPr>
              <p:cNvGrpSpPr/>
              <p:nvPr/>
            </p:nvGrpSpPr>
            <p:grpSpPr bwMode="gray">
              <a:xfrm>
                <a:off x="4066748" y="1884810"/>
                <a:ext cx="784066" cy="1608182"/>
                <a:chOff x="4051301" y="1866900"/>
                <a:chExt cx="808038" cy="1657350"/>
              </a:xfrm>
              <a:grpFill/>
            </p:grpSpPr>
            <p:sp>
              <p:nvSpPr>
                <p:cNvPr id="582" name="Freeform 7">
                  <a:extLst>
                    <a:ext uri="{FF2B5EF4-FFF2-40B4-BE49-F238E27FC236}">
                      <a16:creationId xmlns:a16="http://schemas.microsoft.com/office/drawing/2014/main" id="{72E670E6-7A48-D1D7-9D72-94405D59F7B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51301" y="1866900"/>
                  <a:ext cx="808038" cy="1657350"/>
                </a:xfrm>
                <a:custGeom>
                  <a:avLst/>
                  <a:gdLst>
                    <a:gd name="T0" fmla="*/ 124 w 194"/>
                    <a:gd name="T1" fmla="*/ 15 h 397"/>
                    <a:gd name="T2" fmla="*/ 97 w 194"/>
                    <a:gd name="T3" fmla="*/ 7 h 397"/>
                    <a:gd name="T4" fmla="*/ 78 w 194"/>
                    <a:gd name="T5" fmla="*/ 26 h 397"/>
                    <a:gd name="T6" fmla="*/ 72 w 194"/>
                    <a:gd name="T7" fmla="*/ 50 h 397"/>
                    <a:gd name="T8" fmla="*/ 52 w 194"/>
                    <a:gd name="T9" fmla="*/ 53 h 397"/>
                    <a:gd name="T10" fmla="*/ 27 w 194"/>
                    <a:gd name="T11" fmla="*/ 52 h 397"/>
                    <a:gd name="T12" fmla="*/ 4 w 194"/>
                    <a:gd name="T13" fmla="*/ 37 h 397"/>
                    <a:gd name="T14" fmla="*/ 25 w 194"/>
                    <a:gd name="T15" fmla="*/ 64 h 397"/>
                    <a:gd name="T16" fmla="*/ 49 w 194"/>
                    <a:gd name="T17" fmla="*/ 85 h 397"/>
                    <a:gd name="T18" fmla="*/ 53 w 194"/>
                    <a:gd name="T19" fmla="*/ 108 h 397"/>
                    <a:gd name="T20" fmla="*/ 58 w 194"/>
                    <a:gd name="T21" fmla="*/ 130 h 397"/>
                    <a:gd name="T22" fmla="*/ 61 w 194"/>
                    <a:gd name="T23" fmla="*/ 159 h 397"/>
                    <a:gd name="T24" fmla="*/ 74 w 194"/>
                    <a:gd name="T25" fmla="*/ 175 h 397"/>
                    <a:gd name="T26" fmla="*/ 85 w 194"/>
                    <a:gd name="T27" fmla="*/ 195 h 397"/>
                    <a:gd name="T28" fmla="*/ 83 w 194"/>
                    <a:gd name="T29" fmla="*/ 205 h 397"/>
                    <a:gd name="T30" fmla="*/ 69 w 194"/>
                    <a:gd name="T31" fmla="*/ 221 h 397"/>
                    <a:gd name="T32" fmla="*/ 59 w 194"/>
                    <a:gd name="T33" fmla="*/ 239 h 397"/>
                    <a:gd name="T34" fmla="*/ 49 w 194"/>
                    <a:gd name="T35" fmla="*/ 246 h 397"/>
                    <a:gd name="T36" fmla="*/ 45 w 194"/>
                    <a:gd name="T37" fmla="*/ 255 h 397"/>
                    <a:gd name="T38" fmla="*/ 44 w 194"/>
                    <a:gd name="T39" fmla="*/ 267 h 397"/>
                    <a:gd name="T40" fmla="*/ 35 w 194"/>
                    <a:gd name="T41" fmla="*/ 269 h 397"/>
                    <a:gd name="T42" fmla="*/ 33 w 194"/>
                    <a:gd name="T43" fmla="*/ 276 h 397"/>
                    <a:gd name="T44" fmla="*/ 26 w 194"/>
                    <a:gd name="T45" fmla="*/ 291 h 397"/>
                    <a:gd name="T46" fmla="*/ 31 w 194"/>
                    <a:gd name="T47" fmla="*/ 312 h 397"/>
                    <a:gd name="T48" fmla="*/ 38 w 194"/>
                    <a:gd name="T49" fmla="*/ 333 h 397"/>
                    <a:gd name="T50" fmla="*/ 35 w 194"/>
                    <a:gd name="T51" fmla="*/ 347 h 397"/>
                    <a:gd name="T52" fmla="*/ 36 w 194"/>
                    <a:gd name="T53" fmla="*/ 365 h 397"/>
                    <a:gd name="T54" fmla="*/ 41 w 194"/>
                    <a:gd name="T55" fmla="*/ 371 h 397"/>
                    <a:gd name="T56" fmla="*/ 46 w 194"/>
                    <a:gd name="T57" fmla="*/ 378 h 397"/>
                    <a:gd name="T58" fmla="*/ 51 w 194"/>
                    <a:gd name="T59" fmla="*/ 381 h 397"/>
                    <a:gd name="T60" fmla="*/ 56 w 194"/>
                    <a:gd name="T61" fmla="*/ 382 h 397"/>
                    <a:gd name="T62" fmla="*/ 62 w 194"/>
                    <a:gd name="T63" fmla="*/ 392 h 397"/>
                    <a:gd name="T64" fmla="*/ 67 w 194"/>
                    <a:gd name="T65" fmla="*/ 395 h 397"/>
                    <a:gd name="T66" fmla="*/ 82 w 194"/>
                    <a:gd name="T67" fmla="*/ 390 h 397"/>
                    <a:gd name="T68" fmla="*/ 96 w 194"/>
                    <a:gd name="T69" fmla="*/ 384 h 397"/>
                    <a:gd name="T70" fmla="*/ 108 w 194"/>
                    <a:gd name="T71" fmla="*/ 381 h 397"/>
                    <a:gd name="T72" fmla="*/ 112 w 194"/>
                    <a:gd name="T73" fmla="*/ 377 h 397"/>
                    <a:gd name="T74" fmla="*/ 120 w 194"/>
                    <a:gd name="T75" fmla="*/ 377 h 397"/>
                    <a:gd name="T76" fmla="*/ 130 w 194"/>
                    <a:gd name="T77" fmla="*/ 374 h 397"/>
                    <a:gd name="T78" fmla="*/ 152 w 194"/>
                    <a:gd name="T79" fmla="*/ 356 h 397"/>
                    <a:gd name="T80" fmla="*/ 183 w 194"/>
                    <a:gd name="T81" fmla="*/ 309 h 397"/>
                    <a:gd name="T82" fmla="*/ 192 w 194"/>
                    <a:gd name="T83" fmla="*/ 278 h 397"/>
                    <a:gd name="T84" fmla="*/ 169 w 194"/>
                    <a:gd name="T85" fmla="*/ 253 h 397"/>
                    <a:gd name="T86" fmla="*/ 170 w 194"/>
                    <a:gd name="T87" fmla="*/ 227 h 397"/>
                    <a:gd name="T88" fmla="*/ 159 w 194"/>
                    <a:gd name="T89" fmla="*/ 209 h 397"/>
                    <a:gd name="T90" fmla="*/ 154 w 194"/>
                    <a:gd name="T91" fmla="*/ 188 h 397"/>
                    <a:gd name="T92" fmla="*/ 159 w 194"/>
                    <a:gd name="T93" fmla="*/ 170 h 397"/>
                    <a:gd name="T94" fmla="*/ 139 w 194"/>
                    <a:gd name="T95" fmla="*/ 122 h 397"/>
                    <a:gd name="T96" fmla="*/ 142 w 194"/>
                    <a:gd name="T97" fmla="*/ 87 h 397"/>
                    <a:gd name="T98" fmla="*/ 123 w 194"/>
                    <a:gd name="T99" fmla="*/ 63 h 397"/>
                    <a:gd name="T100" fmla="*/ 129 w 194"/>
                    <a:gd name="T101" fmla="*/ 43 h 3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94" h="397">
                      <a:moveTo>
                        <a:pt x="126" y="35"/>
                      </a:moveTo>
                      <a:cubicBezTo>
                        <a:pt x="128" y="31"/>
                        <a:pt x="131" y="32"/>
                        <a:pt x="131" y="25"/>
                      </a:cubicBezTo>
                      <a:cubicBezTo>
                        <a:pt x="130" y="18"/>
                        <a:pt x="128" y="18"/>
                        <a:pt x="124" y="15"/>
                      </a:cubicBezTo>
                      <a:cubicBezTo>
                        <a:pt x="121" y="13"/>
                        <a:pt x="115" y="13"/>
                        <a:pt x="112" y="8"/>
                      </a:cubicBezTo>
                      <a:cubicBezTo>
                        <a:pt x="110" y="3"/>
                        <a:pt x="107" y="0"/>
                        <a:pt x="105" y="1"/>
                      </a:cubicBezTo>
                      <a:cubicBezTo>
                        <a:pt x="103" y="1"/>
                        <a:pt x="100" y="6"/>
                        <a:pt x="97" y="7"/>
                      </a:cubicBezTo>
                      <a:cubicBezTo>
                        <a:pt x="94" y="8"/>
                        <a:pt x="92" y="6"/>
                        <a:pt x="89" y="8"/>
                      </a:cubicBezTo>
                      <a:cubicBezTo>
                        <a:pt x="86" y="9"/>
                        <a:pt x="84" y="14"/>
                        <a:pt x="82" y="18"/>
                      </a:cubicBezTo>
                      <a:cubicBezTo>
                        <a:pt x="79" y="21"/>
                        <a:pt x="78" y="22"/>
                        <a:pt x="78" y="26"/>
                      </a:cubicBezTo>
                      <a:cubicBezTo>
                        <a:pt x="77" y="30"/>
                        <a:pt x="77" y="34"/>
                        <a:pt x="77" y="39"/>
                      </a:cubicBezTo>
                      <a:cubicBezTo>
                        <a:pt x="78" y="43"/>
                        <a:pt x="79" y="47"/>
                        <a:pt x="77" y="48"/>
                      </a:cubicBezTo>
                      <a:cubicBezTo>
                        <a:pt x="75" y="48"/>
                        <a:pt x="73" y="45"/>
                        <a:pt x="72" y="50"/>
                      </a:cubicBezTo>
                      <a:cubicBezTo>
                        <a:pt x="70" y="55"/>
                        <a:pt x="70" y="56"/>
                        <a:pt x="68" y="58"/>
                      </a:cubicBezTo>
                      <a:cubicBezTo>
                        <a:pt x="65" y="61"/>
                        <a:pt x="64" y="55"/>
                        <a:pt x="61" y="55"/>
                      </a:cubicBezTo>
                      <a:cubicBezTo>
                        <a:pt x="57" y="54"/>
                        <a:pt x="54" y="54"/>
                        <a:pt x="52" y="53"/>
                      </a:cubicBezTo>
                      <a:cubicBezTo>
                        <a:pt x="49" y="51"/>
                        <a:pt x="47" y="57"/>
                        <a:pt x="44" y="58"/>
                      </a:cubicBezTo>
                      <a:cubicBezTo>
                        <a:pt x="41" y="59"/>
                        <a:pt x="37" y="57"/>
                        <a:pt x="33" y="57"/>
                      </a:cubicBezTo>
                      <a:cubicBezTo>
                        <a:pt x="30" y="56"/>
                        <a:pt x="28" y="56"/>
                        <a:pt x="27" y="52"/>
                      </a:cubicBezTo>
                      <a:cubicBezTo>
                        <a:pt x="25" y="47"/>
                        <a:pt x="21" y="43"/>
                        <a:pt x="19" y="40"/>
                      </a:cubicBezTo>
                      <a:cubicBezTo>
                        <a:pt x="17" y="37"/>
                        <a:pt x="16" y="31"/>
                        <a:pt x="11" y="32"/>
                      </a:cubicBezTo>
                      <a:cubicBezTo>
                        <a:pt x="6" y="32"/>
                        <a:pt x="6" y="33"/>
                        <a:pt x="4" y="37"/>
                      </a:cubicBezTo>
                      <a:cubicBezTo>
                        <a:pt x="3" y="41"/>
                        <a:pt x="1" y="40"/>
                        <a:pt x="0" y="40"/>
                      </a:cubicBezTo>
                      <a:cubicBezTo>
                        <a:pt x="0" y="40"/>
                        <a:pt x="3" y="49"/>
                        <a:pt x="7" y="51"/>
                      </a:cubicBezTo>
                      <a:cubicBezTo>
                        <a:pt x="11" y="53"/>
                        <a:pt x="22" y="63"/>
                        <a:pt x="25" y="64"/>
                      </a:cubicBezTo>
                      <a:cubicBezTo>
                        <a:pt x="28" y="65"/>
                        <a:pt x="34" y="68"/>
                        <a:pt x="37" y="71"/>
                      </a:cubicBezTo>
                      <a:cubicBezTo>
                        <a:pt x="40" y="73"/>
                        <a:pt x="40" y="80"/>
                        <a:pt x="43" y="79"/>
                      </a:cubicBezTo>
                      <a:cubicBezTo>
                        <a:pt x="45" y="78"/>
                        <a:pt x="51" y="82"/>
                        <a:pt x="49" y="85"/>
                      </a:cubicBezTo>
                      <a:cubicBezTo>
                        <a:pt x="47" y="88"/>
                        <a:pt x="47" y="92"/>
                        <a:pt x="47" y="95"/>
                      </a:cubicBezTo>
                      <a:cubicBezTo>
                        <a:pt x="47" y="99"/>
                        <a:pt x="47" y="106"/>
                        <a:pt x="49" y="105"/>
                      </a:cubicBezTo>
                      <a:cubicBezTo>
                        <a:pt x="51" y="103"/>
                        <a:pt x="54" y="105"/>
                        <a:pt x="53" y="108"/>
                      </a:cubicBezTo>
                      <a:cubicBezTo>
                        <a:pt x="52" y="110"/>
                        <a:pt x="50" y="113"/>
                        <a:pt x="50" y="116"/>
                      </a:cubicBezTo>
                      <a:cubicBezTo>
                        <a:pt x="51" y="119"/>
                        <a:pt x="54" y="122"/>
                        <a:pt x="56" y="124"/>
                      </a:cubicBezTo>
                      <a:cubicBezTo>
                        <a:pt x="58" y="126"/>
                        <a:pt x="59" y="128"/>
                        <a:pt x="58" y="130"/>
                      </a:cubicBezTo>
                      <a:cubicBezTo>
                        <a:pt x="57" y="132"/>
                        <a:pt x="58" y="136"/>
                        <a:pt x="57" y="139"/>
                      </a:cubicBezTo>
                      <a:cubicBezTo>
                        <a:pt x="56" y="142"/>
                        <a:pt x="53" y="145"/>
                        <a:pt x="55" y="149"/>
                      </a:cubicBezTo>
                      <a:cubicBezTo>
                        <a:pt x="57" y="152"/>
                        <a:pt x="60" y="155"/>
                        <a:pt x="61" y="159"/>
                      </a:cubicBezTo>
                      <a:cubicBezTo>
                        <a:pt x="63" y="164"/>
                        <a:pt x="65" y="169"/>
                        <a:pt x="65" y="169"/>
                      </a:cubicBezTo>
                      <a:cubicBezTo>
                        <a:pt x="65" y="169"/>
                        <a:pt x="67" y="170"/>
                        <a:pt x="70" y="171"/>
                      </a:cubicBezTo>
                      <a:cubicBezTo>
                        <a:pt x="72" y="171"/>
                        <a:pt x="73" y="172"/>
                        <a:pt x="74" y="175"/>
                      </a:cubicBezTo>
                      <a:cubicBezTo>
                        <a:pt x="75" y="178"/>
                        <a:pt x="77" y="176"/>
                        <a:pt x="79" y="176"/>
                      </a:cubicBezTo>
                      <a:cubicBezTo>
                        <a:pt x="81" y="177"/>
                        <a:pt x="82" y="181"/>
                        <a:pt x="84" y="183"/>
                      </a:cubicBezTo>
                      <a:cubicBezTo>
                        <a:pt x="85" y="185"/>
                        <a:pt x="83" y="194"/>
                        <a:pt x="85" y="195"/>
                      </a:cubicBezTo>
                      <a:cubicBezTo>
                        <a:pt x="87" y="196"/>
                        <a:pt x="87" y="202"/>
                        <a:pt x="87" y="202"/>
                      </a:cubicBezTo>
                      <a:cubicBezTo>
                        <a:pt x="87" y="203"/>
                        <a:pt x="87" y="204"/>
                        <a:pt x="86" y="206"/>
                      </a:cubicBezTo>
                      <a:cubicBezTo>
                        <a:pt x="86" y="206"/>
                        <a:pt x="85" y="205"/>
                        <a:pt x="83" y="205"/>
                      </a:cubicBezTo>
                      <a:cubicBezTo>
                        <a:pt x="80" y="204"/>
                        <a:pt x="77" y="205"/>
                        <a:pt x="76" y="208"/>
                      </a:cubicBezTo>
                      <a:cubicBezTo>
                        <a:pt x="75" y="211"/>
                        <a:pt x="72" y="211"/>
                        <a:pt x="72" y="216"/>
                      </a:cubicBezTo>
                      <a:cubicBezTo>
                        <a:pt x="72" y="221"/>
                        <a:pt x="70" y="220"/>
                        <a:pt x="69" y="221"/>
                      </a:cubicBezTo>
                      <a:cubicBezTo>
                        <a:pt x="68" y="222"/>
                        <a:pt x="67" y="227"/>
                        <a:pt x="66" y="230"/>
                      </a:cubicBezTo>
                      <a:cubicBezTo>
                        <a:pt x="64" y="233"/>
                        <a:pt x="64" y="234"/>
                        <a:pt x="62" y="236"/>
                      </a:cubicBezTo>
                      <a:cubicBezTo>
                        <a:pt x="60" y="239"/>
                        <a:pt x="59" y="236"/>
                        <a:pt x="59" y="239"/>
                      </a:cubicBezTo>
                      <a:cubicBezTo>
                        <a:pt x="59" y="242"/>
                        <a:pt x="58" y="242"/>
                        <a:pt x="56" y="243"/>
                      </a:cubicBezTo>
                      <a:cubicBezTo>
                        <a:pt x="55" y="243"/>
                        <a:pt x="55" y="245"/>
                        <a:pt x="53" y="247"/>
                      </a:cubicBezTo>
                      <a:cubicBezTo>
                        <a:pt x="52" y="249"/>
                        <a:pt x="50" y="246"/>
                        <a:pt x="49" y="246"/>
                      </a:cubicBezTo>
                      <a:cubicBezTo>
                        <a:pt x="48" y="246"/>
                        <a:pt x="51" y="247"/>
                        <a:pt x="51" y="252"/>
                      </a:cubicBezTo>
                      <a:cubicBezTo>
                        <a:pt x="50" y="256"/>
                        <a:pt x="49" y="253"/>
                        <a:pt x="48" y="251"/>
                      </a:cubicBezTo>
                      <a:cubicBezTo>
                        <a:pt x="47" y="249"/>
                        <a:pt x="46" y="253"/>
                        <a:pt x="45" y="255"/>
                      </a:cubicBezTo>
                      <a:cubicBezTo>
                        <a:pt x="45" y="258"/>
                        <a:pt x="44" y="261"/>
                        <a:pt x="44" y="258"/>
                      </a:cubicBezTo>
                      <a:cubicBezTo>
                        <a:pt x="43" y="256"/>
                        <a:pt x="42" y="259"/>
                        <a:pt x="43" y="262"/>
                      </a:cubicBezTo>
                      <a:cubicBezTo>
                        <a:pt x="45" y="264"/>
                        <a:pt x="45" y="266"/>
                        <a:pt x="44" y="267"/>
                      </a:cubicBezTo>
                      <a:cubicBezTo>
                        <a:pt x="42" y="267"/>
                        <a:pt x="42" y="265"/>
                        <a:pt x="41" y="265"/>
                      </a:cubicBezTo>
                      <a:cubicBezTo>
                        <a:pt x="40" y="265"/>
                        <a:pt x="42" y="267"/>
                        <a:pt x="40" y="268"/>
                      </a:cubicBezTo>
                      <a:cubicBezTo>
                        <a:pt x="38" y="269"/>
                        <a:pt x="37" y="268"/>
                        <a:pt x="35" y="269"/>
                      </a:cubicBezTo>
                      <a:cubicBezTo>
                        <a:pt x="34" y="269"/>
                        <a:pt x="33" y="269"/>
                        <a:pt x="32" y="267"/>
                      </a:cubicBezTo>
                      <a:cubicBezTo>
                        <a:pt x="31" y="265"/>
                        <a:pt x="30" y="268"/>
                        <a:pt x="31" y="271"/>
                      </a:cubicBezTo>
                      <a:cubicBezTo>
                        <a:pt x="32" y="273"/>
                        <a:pt x="34" y="276"/>
                        <a:pt x="33" y="276"/>
                      </a:cubicBezTo>
                      <a:cubicBezTo>
                        <a:pt x="32" y="276"/>
                        <a:pt x="31" y="277"/>
                        <a:pt x="30" y="280"/>
                      </a:cubicBezTo>
                      <a:cubicBezTo>
                        <a:pt x="29" y="284"/>
                        <a:pt x="28" y="284"/>
                        <a:pt x="27" y="286"/>
                      </a:cubicBezTo>
                      <a:cubicBezTo>
                        <a:pt x="26" y="287"/>
                        <a:pt x="26" y="290"/>
                        <a:pt x="26" y="291"/>
                      </a:cubicBezTo>
                      <a:cubicBezTo>
                        <a:pt x="26" y="293"/>
                        <a:pt x="28" y="292"/>
                        <a:pt x="28" y="295"/>
                      </a:cubicBezTo>
                      <a:cubicBezTo>
                        <a:pt x="27" y="298"/>
                        <a:pt x="27" y="300"/>
                        <a:pt x="29" y="303"/>
                      </a:cubicBezTo>
                      <a:cubicBezTo>
                        <a:pt x="31" y="306"/>
                        <a:pt x="32" y="307"/>
                        <a:pt x="31" y="312"/>
                      </a:cubicBezTo>
                      <a:cubicBezTo>
                        <a:pt x="30" y="318"/>
                        <a:pt x="31" y="321"/>
                        <a:pt x="33" y="322"/>
                      </a:cubicBezTo>
                      <a:cubicBezTo>
                        <a:pt x="35" y="322"/>
                        <a:pt x="36" y="327"/>
                        <a:pt x="37" y="329"/>
                      </a:cubicBezTo>
                      <a:cubicBezTo>
                        <a:pt x="37" y="331"/>
                        <a:pt x="39" y="334"/>
                        <a:pt x="38" y="333"/>
                      </a:cubicBezTo>
                      <a:cubicBezTo>
                        <a:pt x="37" y="333"/>
                        <a:pt x="34" y="332"/>
                        <a:pt x="35" y="335"/>
                      </a:cubicBezTo>
                      <a:cubicBezTo>
                        <a:pt x="36" y="338"/>
                        <a:pt x="37" y="342"/>
                        <a:pt x="37" y="344"/>
                      </a:cubicBezTo>
                      <a:cubicBezTo>
                        <a:pt x="36" y="346"/>
                        <a:pt x="35" y="345"/>
                        <a:pt x="35" y="347"/>
                      </a:cubicBezTo>
                      <a:cubicBezTo>
                        <a:pt x="36" y="349"/>
                        <a:pt x="36" y="349"/>
                        <a:pt x="34" y="350"/>
                      </a:cubicBezTo>
                      <a:cubicBezTo>
                        <a:pt x="33" y="352"/>
                        <a:pt x="34" y="355"/>
                        <a:pt x="35" y="357"/>
                      </a:cubicBezTo>
                      <a:cubicBezTo>
                        <a:pt x="36" y="358"/>
                        <a:pt x="36" y="363"/>
                        <a:pt x="36" y="365"/>
                      </a:cubicBezTo>
                      <a:cubicBezTo>
                        <a:pt x="37" y="367"/>
                        <a:pt x="35" y="370"/>
                        <a:pt x="36" y="370"/>
                      </a:cubicBezTo>
                      <a:cubicBezTo>
                        <a:pt x="36" y="370"/>
                        <a:pt x="38" y="368"/>
                        <a:pt x="39" y="369"/>
                      </a:cubicBezTo>
                      <a:cubicBezTo>
                        <a:pt x="39" y="370"/>
                        <a:pt x="41" y="373"/>
                        <a:pt x="41" y="371"/>
                      </a:cubicBezTo>
                      <a:cubicBezTo>
                        <a:pt x="41" y="368"/>
                        <a:pt x="43" y="366"/>
                        <a:pt x="43" y="368"/>
                      </a:cubicBezTo>
                      <a:cubicBezTo>
                        <a:pt x="44" y="370"/>
                        <a:pt x="44" y="374"/>
                        <a:pt x="44" y="374"/>
                      </a:cubicBezTo>
                      <a:cubicBezTo>
                        <a:pt x="44" y="374"/>
                        <a:pt x="44" y="378"/>
                        <a:pt x="46" y="378"/>
                      </a:cubicBezTo>
                      <a:cubicBezTo>
                        <a:pt x="47" y="377"/>
                        <a:pt x="45" y="378"/>
                        <a:pt x="47" y="376"/>
                      </a:cubicBezTo>
                      <a:cubicBezTo>
                        <a:pt x="50" y="375"/>
                        <a:pt x="51" y="376"/>
                        <a:pt x="51" y="378"/>
                      </a:cubicBezTo>
                      <a:cubicBezTo>
                        <a:pt x="50" y="379"/>
                        <a:pt x="50" y="381"/>
                        <a:pt x="51" y="381"/>
                      </a:cubicBezTo>
                      <a:cubicBezTo>
                        <a:pt x="53" y="381"/>
                        <a:pt x="51" y="387"/>
                        <a:pt x="52" y="384"/>
                      </a:cubicBezTo>
                      <a:cubicBezTo>
                        <a:pt x="53" y="381"/>
                        <a:pt x="52" y="382"/>
                        <a:pt x="54" y="380"/>
                      </a:cubicBezTo>
                      <a:cubicBezTo>
                        <a:pt x="56" y="378"/>
                        <a:pt x="57" y="380"/>
                        <a:pt x="56" y="382"/>
                      </a:cubicBezTo>
                      <a:cubicBezTo>
                        <a:pt x="55" y="384"/>
                        <a:pt x="50" y="393"/>
                        <a:pt x="53" y="391"/>
                      </a:cubicBezTo>
                      <a:cubicBezTo>
                        <a:pt x="57" y="389"/>
                        <a:pt x="58" y="391"/>
                        <a:pt x="60" y="389"/>
                      </a:cubicBezTo>
                      <a:cubicBezTo>
                        <a:pt x="62" y="387"/>
                        <a:pt x="60" y="393"/>
                        <a:pt x="62" y="392"/>
                      </a:cubicBezTo>
                      <a:cubicBezTo>
                        <a:pt x="64" y="390"/>
                        <a:pt x="66" y="390"/>
                        <a:pt x="65" y="391"/>
                      </a:cubicBezTo>
                      <a:cubicBezTo>
                        <a:pt x="64" y="391"/>
                        <a:pt x="61" y="395"/>
                        <a:pt x="63" y="395"/>
                      </a:cubicBezTo>
                      <a:cubicBezTo>
                        <a:pt x="65" y="395"/>
                        <a:pt x="65" y="397"/>
                        <a:pt x="67" y="395"/>
                      </a:cubicBezTo>
                      <a:cubicBezTo>
                        <a:pt x="70" y="393"/>
                        <a:pt x="69" y="395"/>
                        <a:pt x="72" y="394"/>
                      </a:cubicBezTo>
                      <a:cubicBezTo>
                        <a:pt x="74" y="393"/>
                        <a:pt x="73" y="395"/>
                        <a:pt x="76" y="393"/>
                      </a:cubicBezTo>
                      <a:cubicBezTo>
                        <a:pt x="79" y="391"/>
                        <a:pt x="80" y="391"/>
                        <a:pt x="82" y="390"/>
                      </a:cubicBezTo>
                      <a:cubicBezTo>
                        <a:pt x="85" y="388"/>
                        <a:pt x="85" y="392"/>
                        <a:pt x="87" y="391"/>
                      </a:cubicBezTo>
                      <a:cubicBezTo>
                        <a:pt x="90" y="390"/>
                        <a:pt x="89" y="389"/>
                        <a:pt x="91" y="387"/>
                      </a:cubicBezTo>
                      <a:cubicBezTo>
                        <a:pt x="92" y="384"/>
                        <a:pt x="93" y="383"/>
                        <a:pt x="96" y="384"/>
                      </a:cubicBezTo>
                      <a:cubicBezTo>
                        <a:pt x="99" y="384"/>
                        <a:pt x="101" y="384"/>
                        <a:pt x="102" y="382"/>
                      </a:cubicBezTo>
                      <a:cubicBezTo>
                        <a:pt x="104" y="381"/>
                        <a:pt x="105" y="383"/>
                        <a:pt x="106" y="381"/>
                      </a:cubicBezTo>
                      <a:cubicBezTo>
                        <a:pt x="107" y="379"/>
                        <a:pt x="108" y="378"/>
                        <a:pt x="108" y="381"/>
                      </a:cubicBezTo>
                      <a:cubicBezTo>
                        <a:pt x="107" y="384"/>
                        <a:pt x="107" y="386"/>
                        <a:pt x="108" y="384"/>
                      </a:cubicBezTo>
                      <a:cubicBezTo>
                        <a:pt x="110" y="382"/>
                        <a:pt x="112" y="385"/>
                        <a:pt x="112" y="383"/>
                      </a:cubicBezTo>
                      <a:cubicBezTo>
                        <a:pt x="112" y="380"/>
                        <a:pt x="111" y="374"/>
                        <a:pt x="112" y="377"/>
                      </a:cubicBezTo>
                      <a:cubicBezTo>
                        <a:pt x="114" y="379"/>
                        <a:pt x="115" y="384"/>
                        <a:pt x="115" y="381"/>
                      </a:cubicBezTo>
                      <a:cubicBezTo>
                        <a:pt x="115" y="378"/>
                        <a:pt x="112" y="375"/>
                        <a:pt x="115" y="376"/>
                      </a:cubicBezTo>
                      <a:cubicBezTo>
                        <a:pt x="118" y="376"/>
                        <a:pt x="120" y="379"/>
                        <a:pt x="120" y="377"/>
                      </a:cubicBezTo>
                      <a:cubicBezTo>
                        <a:pt x="120" y="376"/>
                        <a:pt x="121" y="374"/>
                        <a:pt x="121" y="376"/>
                      </a:cubicBezTo>
                      <a:cubicBezTo>
                        <a:pt x="122" y="377"/>
                        <a:pt x="124" y="376"/>
                        <a:pt x="124" y="374"/>
                      </a:cubicBezTo>
                      <a:cubicBezTo>
                        <a:pt x="125" y="372"/>
                        <a:pt x="128" y="376"/>
                        <a:pt x="130" y="374"/>
                      </a:cubicBezTo>
                      <a:cubicBezTo>
                        <a:pt x="131" y="372"/>
                        <a:pt x="130" y="372"/>
                        <a:pt x="133" y="372"/>
                      </a:cubicBezTo>
                      <a:cubicBezTo>
                        <a:pt x="136" y="373"/>
                        <a:pt x="139" y="375"/>
                        <a:pt x="140" y="373"/>
                      </a:cubicBezTo>
                      <a:cubicBezTo>
                        <a:pt x="140" y="373"/>
                        <a:pt x="148" y="360"/>
                        <a:pt x="152" y="356"/>
                      </a:cubicBezTo>
                      <a:cubicBezTo>
                        <a:pt x="156" y="351"/>
                        <a:pt x="161" y="347"/>
                        <a:pt x="163" y="343"/>
                      </a:cubicBezTo>
                      <a:cubicBezTo>
                        <a:pt x="165" y="339"/>
                        <a:pt x="169" y="335"/>
                        <a:pt x="171" y="330"/>
                      </a:cubicBezTo>
                      <a:cubicBezTo>
                        <a:pt x="173" y="326"/>
                        <a:pt x="180" y="313"/>
                        <a:pt x="183" y="309"/>
                      </a:cubicBezTo>
                      <a:cubicBezTo>
                        <a:pt x="185" y="305"/>
                        <a:pt x="190" y="302"/>
                        <a:pt x="191" y="296"/>
                      </a:cubicBezTo>
                      <a:cubicBezTo>
                        <a:pt x="192" y="291"/>
                        <a:pt x="191" y="289"/>
                        <a:pt x="192" y="286"/>
                      </a:cubicBezTo>
                      <a:cubicBezTo>
                        <a:pt x="194" y="283"/>
                        <a:pt x="194" y="282"/>
                        <a:pt x="192" y="278"/>
                      </a:cubicBezTo>
                      <a:cubicBezTo>
                        <a:pt x="191" y="275"/>
                        <a:pt x="188" y="269"/>
                        <a:pt x="185" y="267"/>
                      </a:cubicBezTo>
                      <a:cubicBezTo>
                        <a:pt x="183" y="266"/>
                        <a:pt x="177" y="262"/>
                        <a:pt x="175" y="260"/>
                      </a:cubicBezTo>
                      <a:cubicBezTo>
                        <a:pt x="173" y="258"/>
                        <a:pt x="172" y="256"/>
                        <a:pt x="169" y="253"/>
                      </a:cubicBezTo>
                      <a:cubicBezTo>
                        <a:pt x="166" y="250"/>
                        <a:pt x="166" y="249"/>
                        <a:pt x="169" y="246"/>
                      </a:cubicBezTo>
                      <a:cubicBezTo>
                        <a:pt x="172" y="242"/>
                        <a:pt x="173" y="238"/>
                        <a:pt x="173" y="235"/>
                      </a:cubicBezTo>
                      <a:cubicBezTo>
                        <a:pt x="173" y="232"/>
                        <a:pt x="173" y="229"/>
                        <a:pt x="170" y="227"/>
                      </a:cubicBezTo>
                      <a:cubicBezTo>
                        <a:pt x="167" y="225"/>
                        <a:pt x="165" y="225"/>
                        <a:pt x="163" y="221"/>
                      </a:cubicBezTo>
                      <a:cubicBezTo>
                        <a:pt x="162" y="216"/>
                        <a:pt x="166" y="214"/>
                        <a:pt x="164" y="211"/>
                      </a:cubicBezTo>
                      <a:cubicBezTo>
                        <a:pt x="163" y="209"/>
                        <a:pt x="160" y="209"/>
                        <a:pt x="159" y="209"/>
                      </a:cubicBezTo>
                      <a:cubicBezTo>
                        <a:pt x="157" y="208"/>
                        <a:pt x="155" y="205"/>
                        <a:pt x="155" y="202"/>
                      </a:cubicBezTo>
                      <a:cubicBezTo>
                        <a:pt x="155" y="198"/>
                        <a:pt x="159" y="197"/>
                        <a:pt x="157" y="194"/>
                      </a:cubicBezTo>
                      <a:cubicBezTo>
                        <a:pt x="155" y="192"/>
                        <a:pt x="154" y="191"/>
                        <a:pt x="154" y="188"/>
                      </a:cubicBezTo>
                      <a:cubicBezTo>
                        <a:pt x="155" y="185"/>
                        <a:pt x="155" y="182"/>
                        <a:pt x="155" y="179"/>
                      </a:cubicBezTo>
                      <a:cubicBezTo>
                        <a:pt x="154" y="175"/>
                        <a:pt x="154" y="174"/>
                        <a:pt x="156" y="173"/>
                      </a:cubicBezTo>
                      <a:cubicBezTo>
                        <a:pt x="158" y="172"/>
                        <a:pt x="160" y="174"/>
                        <a:pt x="159" y="170"/>
                      </a:cubicBezTo>
                      <a:cubicBezTo>
                        <a:pt x="157" y="166"/>
                        <a:pt x="153" y="154"/>
                        <a:pt x="150" y="150"/>
                      </a:cubicBezTo>
                      <a:cubicBezTo>
                        <a:pt x="148" y="145"/>
                        <a:pt x="143" y="137"/>
                        <a:pt x="142" y="133"/>
                      </a:cubicBezTo>
                      <a:cubicBezTo>
                        <a:pt x="140" y="129"/>
                        <a:pt x="137" y="128"/>
                        <a:pt x="139" y="122"/>
                      </a:cubicBezTo>
                      <a:cubicBezTo>
                        <a:pt x="142" y="116"/>
                        <a:pt x="148" y="107"/>
                        <a:pt x="149" y="103"/>
                      </a:cubicBezTo>
                      <a:cubicBezTo>
                        <a:pt x="150" y="100"/>
                        <a:pt x="150" y="95"/>
                        <a:pt x="148" y="94"/>
                      </a:cubicBezTo>
                      <a:cubicBezTo>
                        <a:pt x="146" y="93"/>
                        <a:pt x="144" y="90"/>
                        <a:pt x="142" y="87"/>
                      </a:cubicBezTo>
                      <a:cubicBezTo>
                        <a:pt x="140" y="84"/>
                        <a:pt x="136" y="78"/>
                        <a:pt x="134" y="78"/>
                      </a:cubicBezTo>
                      <a:cubicBezTo>
                        <a:pt x="133" y="78"/>
                        <a:pt x="129" y="76"/>
                        <a:pt x="127" y="74"/>
                      </a:cubicBezTo>
                      <a:cubicBezTo>
                        <a:pt x="124" y="71"/>
                        <a:pt x="122" y="68"/>
                        <a:pt x="123" y="63"/>
                      </a:cubicBezTo>
                      <a:cubicBezTo>
                        <a:pt x="123" y="59"/>
                        <a:pt x="126" y="55"/>
                        <a:pt x="125" y="52"/>
                      </a:cubicBezTo>
                      <a:cubicBezTo>
                        <a:pt x="124" y="49"/>
                        <a:pt x="121" y="50"/>
                        <a:pt x="123" y="47"/>
                      </a:cubicBezTo>
                      <a:cubicBezTo>
                        <a:pt x="125" y="44"/>
                        <a:pt x="129" y="43"/>
                        <a:pt x="129" y="43"/>
                      </a:cubicBezTo>
                      <a:cubicBezTo>
                        <a:pt x="129" y="43"/>
                        <a:pt x="124" y="40"/>
                        <a:pt x="126" y="35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3" name="Freeform 161">
                  <a:extLst>
                    <a:ext uri="{FF2B5EF4-FFF2-40B4-BE49-F238E27FC236}">
                      <a16:creationId xmlns:a16="http://schemas.microsoft.com/office/drawing/2014/main" id="{615A3901-EE32-A530-EC0C-2CFFB8646F9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354514" y="2681288"/>
                  <a:ext cx="38100" cy="33338"/>
                </a:xfrm>
                <a:custGeom>
                  <a:avLst/>
                  <a:gdLst>
                    <a:gd name="T0" fmla="*/ 4 w 9"/>
                    <a:gd name="T1" fmla="*/ 0 h 8"/>
                    <a:gd name="T2" fmla="*/ 1 w 9"/>
                    <a:gd name="T3" fmla="*/ 4 h 8"/>
                    <a:gd name="T4" fmla="*/ 6 w 9"/>
                    <a:gd name="T5" fmla="*/ 6 h 8"/>
                    <a:gd name="T6" fmla="*/ 4 w 9"/>
                    <a:gd name="T7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8">
                      <a:moveTo>
                        <a:pt x="4" y="0"/>
                      </a:moveTo>
                      <a:cubicBezTo>
                        <a:pt x="2" y="0"/>
                        <a:pt x="0" y="1"/>
                        <a:pt x="1" y="4"/>
                      </a:cubicBezTo>
                      <a:cubicBezTo>
                        <a:pt x="2" y="7"/>
                        <a:pt x="4" y="8"/>
                        <a:pt x="6" y="6"/>
                      </a:cubicBezTo>
                      <a:cubicBezTo>
                        <a:pt x="9" y="4"/>
                        <a:pt x="8" y="1"/>
                        <a:pt x="4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4" name="Freeform 162">
                  <a:extLst>
                    <a:ext uri="{FF2B5EF4-FFF2-40B4-BE49-F238E27FC236}">
                      <a16:creationId xmlns:a16="http://schemas.microsoft.com/office/drawing/2014/main" id="{DB2E9FBE-AB1A-6E40-55C5-6C1CC9222D4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151314" y="2955925"/>
                  <a:ext cx="20638" cy="53975"/>
                </a:xfrm>
                <a:custGeom>
                  <a:avLst/>
                  <a:gdLst>
                    <a:gd name="T0" fmla="*/ 3 w 5"/>
                    <a:gd name="T1" fmla="*/ 3 h 13"/>
                    <a:gd name="T2" fmla="*/ 1 w 5"/>
                    <a:gd name="T3" fmla="*/ 11 h 13"/>
                    <a:gd name="T4" fmla="*/ 5 w 5"/>
                    <a:gd name="T5" fmla="*/ 9 h 13"/>
                    <a:gd name="T6" fmla="*/ 3 w 5"/>
                    <a:gd name="T7" fmla="*/ 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3">
                      <a:moveTo>
                        <a:pt x="3" y="3"/>
                      </a:moveTo>
                      <a:cubicBezTo>
                        <a:pt x="1" y="6"/>
                        <a:pt x="0" y="10"/>
                        <a:pt x="1" y="11"/>
                      </a:cubicBezTo>
                      <a:cubicBezTo>
                        <a:pt x="2" y="13"/>
                        <a:pt x="5" y="12"/>
                        <a:pt x="5" y="9"/>
                      </a:cubicBezTo>
                      <a:cubicBezTo>
                        <a:pt x="4" y="6"/>
                        <a:pt x="4" y="0"/>
                        <a:pt x="3" y="3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5" name="Freeform 163">
                  <a:extLst>
                    <a:ext uri="{FF2B5EF4-FFF2-40B4-BE49-F238E27FC236}">
                      <a16:creationId xmlns:a16="http://schemas.microsoft.com/office/drawing/2014/main" id="{BEAB2C46-2C19-EAF5-73B1-E3CD8EE081E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75114" y="3427413"/>
                  <a:ext cx="58738" cy="71438"/>
                </a:xfrm>
                <a:custGeom>
                  <a:avLst/>
                  <a:gdLst>
                    <a:gd name="T0" fmla="*/ 6 w 14"/>
                    <a:gd name="T1" fmla="*/ 6 h 17"/>
                    <a:gd name="T2" fmla="*/ 4 w 14"/>
                    <a:gd name="T3" fmla="*/ 7 h 17"/>
                    <a:gd name="T4" fmla="*/ 2 w 14"/>
                    <a:gd name="T5" fmla="*/ 6 h 17"/>
                    <a:gd name="T6" fmla="*/ 1 w 14"/>
                    <a:gd name="T7" fmla="*/ 8 h 17"/>
                    <a:gd name="T8" fmla="*/ 3 w 14"/>
                    <a:gd name="T9" fmla="*/ 10 h 17"/>
                    <a:gd name="T10" fmla="*/ 5 w 14"/>
                    <a:gd name="T11" fmla="*/ 13 h 17"/>
                    <a:gd name="T12" fmla="*/ 8 w 14"/>
                    <a:gd name="T13" fmla="*/ 13 h 17"/>
                    <a:gd name="T14" fmla="*/ 10 w 14"/>
                    <a:gd name="T15" fmla="*/ 16 h 17"/>
                    <a:gd name="T16" fmla="*/ 12 w 14"/>
                    <a:gd name="T17" fmla="*/ 15 h 17"/>
                    <a:gd name="T18" fmla="*/ 13 w 14"/>
                    <a:gd name="T19" fmla="*/ 11 h 17"/>
                    <a:gd name="T20" fmla="*/ 10 w 14"/>
                    <a:gd name="T21" fmla="*/ 12 h 17"/>
                    <a:gd name="T22" fmla="*/ 10 w 14"/>
                    <a:gd name="T23" fmla="*/ 8 h 17"/>
                    <a:gd name="T24" fmla="*/ 13 w 14"/>
                    <a:gd name="T25" fmla="*/ 8 h 17"/>
                    <a:gd name="T26" fmla="*/ 10 w 14"/>
                    <a:gd name="T27" fmla="*/ 3 h 17"/>
                    <a:gd name="T28" fmla="*/ 8 w 14"/>
                    <a:gd name="T29" fmla="*/ 3 h 17"/>
                    <a:gd name="T30" fmla="*/ 5 w 14"/>
                    <a:gd name="T31" fmla="*/ 1 h 17"/>
                    <a:gd name="T32" fmla="*/ 6 w 14"/>
                    <a:gd name="T33" fmla="*/ 6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4" h="17">
                      <a:moveTo>
                        <a:pt x="6" y="6"/>
                      </a:moveTo>
                      <a:cubicBezTo>
                        <a:pt x="6" y="7"/>
                        <a:pt x="5" y="9"/>
                        <a:pt x="4" y="7"/>
                      </a:cubicBezTo>
                      <a:cubicBezTo>
                        <a:pt x="4" y="6"/>
                        <a:pt x="3" y="4"/>
                        <a:pt x="2" y="6"/>
                      </a:cubicBezTo>
                      <a:cubicBezTo>
                        <a:pt x="2" y="7"/>
                        <a:pt x="1" y="7"/>
                        <a:pt x="1" y="8"/>
                      </a:cubicBezTo>
                      <a:cubicBezTo>
                        <a:pt x="0" y="9"/>
                        <a:pt x="3" y="9"/>
                        <a:pt x="3" y="10"/>
                      </a:cubicBezTo>
                      <a:cubicBezTo>
                        <a:pt x="4" y="12"/>
                        <a:pt x="4" y="13"/>
                        <a:pt x="5" y="13"/>
                      </a:cubicBezTo>
                      <a:cubicBezTo>
                        <a:pt x="5" y="14"/>
                        <a:pt x="7" y="12"/>
                        <a:pt x="8" y="13"/>
                      </a:cubicBezTo>
                      <a:cubicBezTo>
                        <a:pt x="9" y="13"/>
                        <a:pt x="8" y="15"/>
                        <a:pt x="10" y="16"/>
                      </a:cubicBezTo>
                      <a:cubicBezTo>
                        <a:pt x="11" y="17"/>
                        <a:pt x="12" y="16"/>
                        <a:pt x="12" y="15"/>
                      </a:cubicBezTo>
                      <a:cubicBezTo>
                        <a:pt x="12" y="13"/>
                        <a:pt x="14" y="11"/>
                        <a:pt x="13" y="11"/>
                      </a:cubicBezTo>
                      <a:cubicBezTo>
                        <a:pt x="11" y="12"/>
                        <a:pt x="11" y="15"/>
                        <a:pt x="10" y="12"/>
                      </a:cubicBezTo>
                      <a:cubicBezTo>
                        <a:pt x="9" y="9"/>
                        <a:pt x="9" y="7"/>
                        <a:pt x="10" y="8"/>
                      </a:cubicBezTo>
                      <a:cubicBezTo>
                        <a:pt x="12" y="10"/>
                        <a:pt x="13" y="11"/>
                        <a:pt x="13" y="8"/>
                      </a:cubicBezTo>
                      <a:cubicBezTo>
                        <a:pt x="12" y="6"/>
                        <a:pt x="11" y="5"/>
                        <a:pt x="10" y="3"/>
                      </a:cubicBezTo>
                      <a:cubicBezTo>
                        <a:pt x="9" y="2"/>
                        <a:pt x="9" y="5"/>
                        <a:pt x="8" y="3"/>
                      </a:cubicBezTo>
                      <a:cubicBezTo>
                        <a:pt x="7" y="0"/>
                        <a:pt x="6" y="1"/>
                        <a:pt x="5" y="1"/>
                      </a:cubicBezTo>
                      <a:cubicBezTo>
                        <a:pt x="4" y="1"/>
                        <a:pt x="4" y="4"/>
                        <a:pt x="6" y="6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514" name="Gruppieren 299">
                <a:extLst>
                  <a:ext uri="{FF2B5EF4-FFF2-40B4-BE49-F238E27FC236}">
                    <a16:creationId xmlns:a16="http://schemas.microsoft.com/office/drawing/2014/main" id="{AC43D88A-8DE7-92F3-C1F7-6398686994CB}"/>
                  </a:ext>
                </a:extLst>
              </p:cNvPr>
              <p:cNvGrpSpPr/>
              <p:nvPr/>
            </p:nvGrpSpPr>
            <p:grpSpPr bwMode="gray">
              <a:xfrm>
                <a:off x="3539929" y="2051174"/>
                <a:ext cx="788687" cy="2044117"/>
                <a:chOff x="3508376" y="2038350"/>
                <a:chExt cx="812800" cy="2106613"/>
              </a:xfrm>
              <a:grpFill/>
            </p:grpSpPr>
            <p:sp>
              <p:nvSpPr>
                <p:cNvPr id="576" name="Freeform 165">
                  <a:extLst>
                    <a:ext uri="{FF2B5EF4-FFF2-40B4-BE49-F238E27FC236}">
                      <a16:creationId xmlns:a16="http://schemas.microsoft.com/office/drawing/2014/main" id="{FBDCF4BF-A154-7B32-13FC-776BC15A040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17964" y="3560763"/>
                  <a:ext cx="11113" cy="17463"/>
                </a:xfrm>
                <a:custGeom>
                  <a:avLst/>
                  <a:gdLst>
                    <a:gd name="T0" fmla="*/ 2 w 3"/>
                    <a:gd name="T1" fmla="*/ 1 h 4"/>
                    <a:gd name="T2" fmla="*/ 1 w 3"/>
                    <a:gd name="T3" fmla="*/ 4 h 4"/>
                    <a:gd name="T4" fmla="*/ 3 w 3"/>
                    <a:gd name="T5" fmla="*/ 2 h 4"/>
                    <a:gd name="T6" fmla="*/ 2 w 3"/>
                    <a:gd name="T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0" y="2"/>
                        <a:pt x="0" y="3"/>
                        <a:pt x="1" y="4"/>
                      </a:cubicBezTo>
                      <a:cubicBezTo>
                        <a:pt x="3" y="4"/>
                        <a:pt x="3" y="3"/>
                        <a:pt x="3" y="2"/>
                      </a:cubicBezTo>
                      <a:cubicBezTo>
                        <a:pt x="3" y="1"/>
                        <a:pt x="2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7" name="Freeform 164">
                  <a:extLst>
                    <a:ext uri="{FF2B5EF4-FFF2-40B4-BE49-F238E27FC236}">
                      <a16:creationId xmlns:a16="http://schemas.microsoft.com/office/drawing/2014/main" id="{9E8CFB62-84A6-6FE2-BE95-3EDE272190F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00501" y="3581400"/>
                  <a:ext cx="28575" cy="42863"/>
                </a:xfrm>
                <a:custGeom>
                  <a:avLst/>
                  <a:gdLst>
                    <a:gd name="T0" fmla="*/ 1 w 7"/>
                    <a:gd name="T1" fmla="*/ 3 h 10"/>
                    <a:gd name="T2" fmla="*/ 3 w 7"/>
                    <a:gd name="T3" fmla="*/ 3 h 10"/>
                    <a:gd name="T4" fmla="*/ 4 w 7"/>
                    <a:gd name="T5" fmla="*/ 2 h 10"/>
                    <a:gd name="T6" fmla="*/ 6 w 7"/>
                    <a:gd name="T7" fmla="*/ 7 h 10"/>
                    <a:gd name="T8" fmla="*/ 4 w 7"/>
                    <a:gd name="T9" fmla="*/ 8 h 10"/>
                    <a:gd name="T10" fmla="*/ 1 w 7"/>
                    <a:gd name="T11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10">
                      <a:moveTo>
                        <a:pt x="1" y="3"/>
                      </a:moveTo>
                      <a:cubicBezTo>
                        <a:pt x="1" y="2"/>
                        <a:pt x="3" y="4"/>
                        <a:pt x="3" y="3"/>
                      </a:cubicBezTo>
                      <a:cubicBezTo>
                        <a:pt x="4" y="2"/>
                        <a:pt x="4" y="0"/>
                        <a:pt x="4" y="2"/>
                      </a:cubicBezTo>
                      <a:cubicBezTo>
                        <a:pt x="5" y="3"/>
                        <a:pt x="7" y="5"/>
                        <a:pt x="6" y="7"/>
                      </a:cubicBezTo>
                      <a:cubicBezTo>
                        <a:pt x="6" y="9"/>
                        <a:pt x="5" y="10"/>
                        <a:pt x="4" y="8"/>
                      </a:cubicBezTo>
                      <a:cubicBezTo>
                        <a:pt x="3" y="7"/>
                        <a:pt x="0" y="5"/>
                        <a:pt x="1" y="3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8" name="Freeform 17">
                  <a:extLst>
                    <a:ext uri="{FF2B5EF4-FFF2-40B4-BE49-F238E27FC236}">
                      <a16:creationId xmlns:a16="http://schemas.microsoft.com/office/drawing/2014/main" id="{23C803C8-E94D-464B-B988-90ADD6ACAA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08376" y="2038350"/>
                  <a:ext cx="812800" cy="2106613"/>
                </a:xfrm>
                <a:custGeom>
                  <a:avLst/>
                  <a:gdLst>
                    <a:gd name="T0" fmla="*/ 124 w 195"/>
                    <a:gd name="T1" fmla="*/ 11 h 505"/>
                    <a:gd name="T2" fmla="*/ 106 w 195"/>
                    <a:gd name="T3" fmla="*/ 23 h 505"/>
                    <a:gd name="T4" fmla="*/ 93 w 195"/>
                    <a:gd name="T5" fmla="*/ 38 h 505"/>
                    <a:gd name="T6" fmla="*/ 70 w 195"/>
                    <a:gd name="T7" fmla="*/ 55 h 505"/>
                    <a:gd name="T8" fmla="*/ 66 w 195"/>
                    <a:gd name="T9" fmla="*/ 82 h 505"/>
                    <a:gd name="T10" fmla="*/ 45 w 195"/>
                    <a:gd name="T11" fmla="*/ 115 h 505"/>
                    <a:gd name="T12" fmla="*/ 41 w 195"/>
                    <a:gd name="T13" fmla="*/ 149 h 505"/>
                    <a:gd name="T14" fmla="*/ 37 w 195"/>
                    <a:gd name="T15" fmla="*/ 180 h 505"/>
                    <a:gd name="T16" fmla="*/ 15 w 195"/>
                    <a:gd name="T17" fmla="*/ 201 h 505"/>
                    <a:gd name="T18" fmla="*/ 10 w 195"/>
                    <a:gd name="T19" fmla="*/ 235 h 505"/>
                    <a:gd name="T20" fmla="*/ 13 w 195"/>
                    <a:gd name="T21" fmla="*/ 277 h 505"/>
                    <a:gd name="T22" fmla="*/ 25 w 195"/>
                    <a:gd name="T23" fmla="*/ 303 h 505"/>
                    <a:gd name="T24" fmla="*/ 21 w 195"/>
                    <a:gd name="T25" fmla="*/ 329 h 505"/>
                    <a:gd name="T26" fmla="*/ 11 w 195"/>
                    <a:gd name="T27" fmla="*/ 354 h 505"/>
                    <a:gd name="T28" fmla="*/ 10 w 195"/>
                    <a:gd name="T29" fmla="*/ 381 h 505"/>
                    <a:gd name="T30" fmla="*/ 1 w 195"/>
                    <a:gd name="T31" fmla="*/ 385 h 505"/>
                    <a:gd name="T32" fmla="*/ 6 w 195"/>
                    <a:gd name="T33" fmla="*/ 408 h 505"/>
                    <a:gd name="T34" fmla="*/ 8 w 195"/>
                    <a:gd name="T35" fmla="*/ 411 h 505"/>
                    <a:gd name="T36" fmla="*/ 8 w 195"/>
                    <a:gd name="T37" fmla="*/ 417 h 505"/>
                    <a:gd name="T38" fmla="*/ 12 w 195"/>
                    <a:gd name="T39" fmla="*/ 428 h 505"/>
                    <a:gd name="T40" fmla="*/ 19 w 195"/>
                    <a:gd name="T41" fmla="*/ 445 h 505"/>
                    <a:gd name="T42" fmla="*/ 31 w 195"/>
                    <a:gd name="T43" fmla="*/ 464 h 505"/>
                    <a:gd name="T44" fmla="*/ 32 w 195"/>
                    <a:gd name="T45" fmla="*/ 477 h 505"/>
                    <a:gd name="T46" fmla="*/ 35 w 195"/>
                    <a:gd name="T47" fmla="*/ 492 h 505"/>
                    <a:gd name="T48" fmla="*/ 35 w 195"/>
                    <a:gd name="T49" fmla="*/ 503 h 505"/>
                    <a:gd name="T50" fmla="*/ 57 w 195"/>
                    <a:gd name="T51" fmla="*/ 501 h 505"/>
                    <a:gd name="T52" fmla="*/ 65 w 195"/>
                    <a:gd name="T53" fmla="*/ 483 h 505"/>
                    <a:gd name="T54" fmla="*/ 85 w 195"/>
                    <a:gd name="T55" fmla="*/ 478 h 505"/>
                    <a:gd name="T56" fmla="*/ 92 w 195"/>
                    <a:gd name="T57" fmla="*/ 446 h 505"/>
                    <a:gd name="T58" fmla="*/ 92 w 195"/>
                    <a:gd name="T59" fmla="*/ 426 h 505"/>
                    <a:gd name="T60" fmla="*/ 94 w 195"/>
                    <a:gd name="T61" fmla="*/ 410 h 505"/>
                    <a:gd name="T62" fmla="*/ 88 w 195"/>
                    <a:gd name="T63" fmla="*/ 399 h 505"/>
                    <a:gd name="T64" fmla="*/ 106 w 195"/>
                    <a:gd name="T65" fmla="*/ 392 h 505"/>
                    <a:gd name="T66" fmla="*/ 112 w 195"/>
                    <a:gd name="T67" fmla="*/ 391 h 505"/>
                    <a:gd name="T68" fmla="*/ 120 w 195"/>
                    <a:gd name="T69" fmla="*/ 385 h 505"/>
                    <a:gd name="T70" fmla="*/ 124 w 195"/>
                    <a:gd name="T71" fmla="*/ 363 h 505"/>
                    <a:gd name="T72" fmla="*/ 120 w 195"/>
                    <a:gd name="T73" fmla="*/ 342 h 505"/>
                    <a:gd name="T74" fmla="*/ 115 w 195"/>
                    <a:gd name="T75" fmla="*/ 337 h 505"/>
                    <a:gd name="T76" fmla="*/ 104 w 195"/>
                    <a:gd name="T77" fmla="*/ 328 h 505"/>
                    <a:gd name="T78" fmla="*/ 95 w 195"/>
                    <a:gd name="T79" fmla="*/ 311 h 505"/>
                    <a:gd name="T80" fmla="*/ 94 w 195"/>
                    <a:gd name="T81" fmla="*/ 285 h 505"/>
                    <a:gd name="T82" fmla="*/ 98 w 195"/>
                    <a:gd name="T83" fmla="*/ 272 h 505"/>
                    <a:gd name="T84" fmla="*/ 98 w 195"/>
                    <a:gd name="T85" fmla="*/ 256 h 505"/>
                    <a:gd name="T86" fmla="*/ 101 w 195"/>
                    <a:gd name="T87" fmla="*/ 237 h 505"/>
                    <a:gd name="T88" fmla="*/ 109 w 195"/>
                    <a:gd name="T89" fmla="*/ 242 h 505"/>
                    <a:gd name="T90" fmla="*/ 115 w 195"/>
                    <a:gd name="T91" fmla="*/ 229 h 505"/>
                    <a:gd name="T92" fmla="*/ 126 w 195"/>
                    <a:gd name="T93" fmla="*/ 219 h 505"/>
                    <a:gd name="T94" fmla="*/ 139 w 195"/>
                    <a:gd name="T95" fmla="*/ 210 h 505"/>
                    <a:gd name="T96" fmla="*/ 151 w 195"/>
                    <a:gd name="T97" fmla="*/ 190 h 505"/>
                    <a:gd name="T98" fmla="*/ 151 w 195"/>
                    <a:gd name="T99" fmla="*/ 171 h 505"/>
                    <a:gd name="T100" fmla="*/ 156 w 195"/>
                    <a:gd name="T101" fmla="*/ 151 h 505"/>
                    <a:gd name="T102" fmla="*/ 160 w 195"/>
                    <a:gd name="T103" fmla="*/ 140 h 505"/>
                    <a:gd name="T104" fmla="*/ 166 w 195"/>
                    <a:gd name="T105" fmla="*/ 129 h 505"/>
                    <a:gd name="T106" fmla="*/ 178 w 195"/>
                    <a:gd name="T107" fmla="*/ 129 h 505"/>
                    <a:gd name="T108" fmla="*/ 191 w 195"/>
                    <a:gd name="T109" fmla="*/ 129 h 505"/>
                    <a:gd name="T110" fmla="*/ 187 w 195"/>
                    <a:gd name="T111" fmla="*/ 98 h 505"/>
                    <a:gd name="T112" fmla="*/ 183 w 195"/>
                    <a:gd name="T113" fmla="*/ 67 h 505"/>
                    <a:gd name="T114" fmla="*/ 173 w 195"/>
                    <a:gd name="T115" fmla="*/ 38 h 505"/>
                    <a:gd name="T116" fmla="*/ 131 w 195"/>
                    <a:gd name="T117" fmla="*/ 0 h 5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95" h="505">
                      <a:moveTo>
                        <a:pt x="131" y="0"/>
                      </a:moveTo>
                      <a:cubicBezTo>
                        <a:pt x="131" y="0"/>
                        <a:pt x="127" y="0"/>
                        <a:pt x="125" y="1"/>
                      </a:cubicBezTo>
                      <a:cubicBezTo>
                        <a:pt x="123" y="2"/>
                        <a:pt x="122" y="2"/>
                        <a:pt x="123" y="5"/>
                      </a:cubicBezTo>
                      <a:cubicBezTo>
                        <a:pt x="125" y="8"/>
                        <a:pt x="126" y="7"/>
                        <a:pt x="124" y="11"/>
                      </a:cubicBezTo>
                      <a:cubicBezTo>
                        <a:pt x="123" y="15"/>
                        <a:pt x="120" y="20"/>
                        <a:pt x="122" y="22"/>
                      </a:cubicBezTo>
                      <a:cubicBezTo>
                        <a:pt x="124" y="23"/>
                        <a:pt x="123" y="24"/>
                        <a:pt x="122" y="26"/>
                      </a:cubicBezTo>
                      <a:cubicBezTo>
                        <a:pt x="121" y="28"/>
                        <a:pt x="119" y="27"/>
                        <a:pt x="116" y="26"/>
                      </a:cubicBezTo>
                      <a:cubicBezTo>
                        <a:pt x="113" y="24"/>
                        <a:pt x="109" y="23"/>
                        <a:pt x="106" y="23"/>
                      </a:cubicBezTo>
                      <a:cubicBezTo>
                        <a:pt x="103" y="22"/>
                        <a:pt x="103" y="23"/>
                        <a:pt x="101" y="23"/>
                      </a:cubicBezTo>
                      <a:cubicBezTo>
                        <a:pt x="99" y="22"/>
                        <a:pt x="97" y="19"/>
                        <a:pt x="95" y="20"/>
                      </a:cubicBezTo>
                      <a:cubicBezTo>
                        <a:pt x="93" y="20"/>
                        <a:pt x="91" y="19"/>
                        <a:pt x="92" y="25"/>
                      </a:cubicBezTo>
                      <a:cubicBezTo>
                        <a:pt x="93" y="31"/>
                        <a:pt x="94" y="34"/>
                        <a:pt x="93" y="38"/>
                      </a:cubicBezTo>
                      <a:cubicBezTo>
                        <a:pt x="91" y="41"/>
                        <a:pt x="91" y="43"/>
                        <a:pt x="88" y="41"/>
                      </a:cubicBezTo>
                      <a:cubicBezTo>
                        <a:pt x="84" y="40"/>
                        <a:pt x="84" y="38"/>
                        <a:pt x="81" y="39"/>
                      </a:cubicBezTo>
                      <a:cubicBezTo>
                        <a:pt x="78" y="40"/>
                        <a:pt x="76" y="44"/>
                        <a:pt x="73" y="47"/>
                      </a:cubicBezTo>
                      <a:cubicBezTo>
                        <a:pt x="71" y="50"/>
                        <a:pt x="71" y="51"/>
                        <a:pt x="70" y="55"/>
                      </a:cubicBezTo>
                      <a:cubicBezTo>
                        <a:pt x="69" y="59"/>
                        <a:pt x="68" y="61"/>
                        <a:pt x="65" y="63"/>
                      </a:cubicBezTo>
                      <a:cubicBezTo>
                        <a:pt x="63" y="66"/>
                        <a:pt x="63" y="65"/>
                        <a:pt x="65" y="68"/>
                      </a:cubicBezTo>
                      <a:cubicBezTo>
                        <a:pt x="67" y="71"/>
                        <a:pt x="69" y="73"/>
                        <a:pt x="69" y="77"/>
                      </a:cubicBezTo>
                      <a:cubicBezTo>
                        <a:pt x="69" y="80"/>
                        <a:pt x="68" y="79"/>
                        <a:pt x="66" y="82"/>
                      </a:cubicBezTo>
                      <a:cubicBezTo>
                        <a:pt x="64" y="85"/>
                        <a:pt x="61" y="89"/>
                        <a:pt x="59" y="94"/>
                      </a:cubicBezTo>
                      <a:cubicBezTo>
                        <a:pt x="57" y="99"/>
                        <a:pt x="53" y="99"/>
                        <a:pt x="54" y="103"/>
                      </a:cubicBezTo>
                      <a:cubicBezTo>
                        <a:pt x="56" y="107"/>
                        <a:pt x="57" y="108"/>
                        <a:pt x="55" y="109"/>
                      </a:cubicBezTo>
                      <a:cubicBezTo>
                        <a:pt x="54" y="111"/>
                        <a:pt x="47" y="115"/>
                        <a:pt x="45" y="115"/>
                      </a:cubicBezTo>
                      <a:cubicBezTo>
                        <a:pt x="43" y="115"/>
                        <a:pt x="41" y="116"/>
                        <a:pt x="42" y="120"/>
                      </a:cubicBezTo>
                      <a:cubicBezTo>
                        <a:pt x="43" y="125"/>
                        <a:pt x="44" y="128"/>
                        <a:pt x="43" y="131"/>
                      </a:cubicBezTo>
                      <a:cubicBezTo>
                        <a:pt x="42" y="134"/>
                        <a:pt x="42" y="136"/>
                        <a:pt x="43" y="140"/>
                      </a:cubicBezTo>
                      <a:cubicBezTo>
                        <a:pt x="43" y="145"/>
                        <a:pt x="42" y="148"/>
                        <a:pt x="41" y="149"/>
                      </a:cubicBezTo>
                      <a:cubicBezTo>
                        <a:pt x="40" y="149"/>
                        <a:pt x="40" y="150"/>
                        <a:pt x="40" y="154"/>
                      </a:cubicBezTo>
                      <a:cubicBezTo>
                        <a:pt x="40" y="157"/>
                        <a:pt x="38" y="160"/>
                        <a:pt x="35" y="165"/>
                      </a:cubicBezTo>
                      <a:cubicBezTo>
                        <a:pt x="33" y="170"/>
                        <a:pt x="30" y="173"/>
                        <a:pt x="31" y="175"/>
                      </a:cubicBezTo>
                      <a:cubicBezTo>
                        <a:pt x="33" y="177"/>
                        <a:pt x="35" y="180"/>
                        <a:pt x="37" y="180"/>
                      </a:cubicBezTo>
                      <a:cubicBezTo>
                        <a:pt x="38" y="180"/>
                        <a:pt x="38" y="181"/>
                        <a:pt x="39" y="186"/>
                      </a:cubicBezTo>
                      <a:cubicBezTo>
                        <a:pt x="39" y="190"/>
                        <a:pt x="41" y="194"/>
                        <a:pt x="37" y="195"/>
                      </a:cubicBezTo>
                      <a:cubicBezTo>
                        <a:pt x="33" y="196"/>
                        <a:pt x="27" y="195"/>
                        <a:pt x="26" y="194"/>
                      </a:cubicBezTo>
                      <a:cubicBezTo>
                        <a:pt x="24" y="193"/>
                        <a:pt x="18" y="197"/>
                        <a:pt x="15" y="201"/>
                      </a:cubicBezTo>
                      <a:cubicBezTo>
                        <a:pt x="13" y="204"/>
                        <a:pt x="9" y="212"/>
                        <a:pt x="9" y="214"/>
                      </a:cubicBezTo>
                      <a:cubicBezTo>
                        <a:pt x="9" y="216"/>
                        <a:pt x="10" y="217"/>
                        <a:pt x="9" y="220"/>
                      </a:cubicBezTo>
                      <a:cubicBezTo>
                        <a:pt x="8" y="222"/>
                        <a:pt x="7" y="225"/>
                        <a:pt x="8" y="228"/>
                      </a:cubicBezTo>
                      <a:cubicBezTo>
                        <a:pt x="9" y="231"/>
                        <a:pt x="11" y="233"/>
                        <a:pt x="10" y="235"/>
                      </a:cubicBezTo>
                      <a:cubicBezTo>
                        <a:pt x="9" y="238"/>
                        <a:pt x="9" y="240"/>
                        <a:pt x="10" y="245"/>
                      </a:cubicBezTo>
                      <a:cubicBezTo>
                        <a:pt x="10" y="250"/>
                        <a:pt x="9" y="253"/>
                        <a:pt x="11" y="258"/>
                      </a:cubicBezTo>
                      <a:cubicBezTo>
                        <a:pt x="13" y="262"/>
                        <a:pt x="14" y="261"/>
                        <a:pt x="13" y="265"/>
                      </a:cubicBezTo>
                      <a:cubicBezTo>
                        <a:pt x="13" y="269"/>
                        <a:pt x="13" y="271"/>
                        <a:pt x="13" y="277"/>
                      </a:cubicBezTo>
                      <a:cubicBezTo>
                        <a:pt x="12" y="284"/>
                        <a:pt x="11" y="285"/>
                        <a:pt x="13" y="287"/>
                      </a:cubicBezTo>
                      <a:cubicBezTo>
                        <a:pt x="14" y="288"/>
                        <a:pt x="17" y="292"/>
                        <a:pt x="18" y="292"/>
                      </a:cubicBezTo>
                      <a:cubicBezTo>
                        <a:pt x="19" y="293"/>
                        <a:pt x="23" y="295"/>
                        <a:pt x="23" y="297"/>
                      </a:cubicBezTo>
                      <a:cubicBezTo>
                        <a:pt x="24" y="300"/>
                        <a:pt x="25" y="299"/>
                        <a:pt x="25" y="303"/>
                      </a:cubicBezTo>
                      <a:cubicBezTo>
                        <a:pt x="24" y="307"/>
                        <a:pt x="23" y="311"/>
                        <a:pt x="22" y="311"/>
                      </a:cubicBezTo>
                      <a:cubicBezTo>
                        <a:pt x="20" y="312"/>
                        <a:pt x="16" y="311"/>
                        <a:pt x="16" y="313"/>
                      </a:cubicBezTo>
                      <a:cubicBezTo>
                        <a:pt x="16" y="315"/>
                        <a:pt x="16" y="317"/>
                        <a:pt x="17" y="320"/>
                      </a:cubicBezTo>
                      <a:cubicBezTo>
                        <a:pt x="17" y="323"/>
                        <a:pt x="20" y="327"/>
                        <a:pt x="21" y="329"/>
                      </a:cubicBezTo>
                      <a:cubicBezTo>
                        <a:pt x="22" y="332"/>
                        <a:pt x="21" y="336"/>
                        <a:pt x="21" y="338"/>
                      </a:cubicBezTo>
                      <a:cubicBezTo>
                        <a:pt x="20" y="340"/>
                        <a:pt x="21" y="342"/>
                        <a:pt x="21" y="344"/>
                      </a:cubicBezTo>
                      <a:cubicBezTo>
                        <a:pt x="20" y="347"/>
                        <a:pt x="18" y="352"/>
                        <a:pt x="17" y="353"/>
                      </a:cubicBezTo>
                      <a:cubicBezTo>
                        <a:pt x="15" y="354"/>
                        <a:pt x="12" y="353"/>
                        <a:pt x="11" y="354"/>
                      </a:cubicBezTo>
                      <a:cubicBezTo>
                        <a:pt x="10" y="354"/>
                        <a:pt x="11" y="356"/>
                        <a:pt x="11" y="359"/>
                      </a:cubicBezTo>
                      <a:cubicBezTo>
                        <a:pt x="11" y="361"/>
                        <a:pt x="8" y="363"/>
                        <a:pt x="8" y="365"/>
                      </a:cubicBezTo>
                      <a:cubicBezTo>
                        <a:pt x="9" y="367"/>
                        <a:pt x="9" y="372"/>
                        <a:pt x="10" y="374"/>
                      </a:cubicBezTo>
                      <a:cubicBezTo>
                        <a:pt x="11" y="376"/>
                        <a:pt x="10" y="378"/>
                        <a:pt x="10" y="381"/>
                      </a:cubicBezTo>
                      <a:cubicBezTo>
                        <a:pt x="9" y="385"/>
                        <a:pt x="9" y="390"/>
                        <a:pt x="8" y="390"/>
                      </a:cubicBezTo>
                      <a:cubicBezTo>
                        <a:pt x="7" y="390"/>
                        <a:pt x="5" y="386"/>
                        <a:pt x="4" y="384"/>
                      </a:cubicBezTo>
                      <a:cubicBezTo>
                        <a:pt x="3" y="382"/>
                        <a:pt x="1" y="381"/>
                        <a:pt x="1" y="381"/>
                      </a:cubicBezTo>
                      <a:cubicBezTo>
                        <a:pt x="1" y="381"/>
                        <a:pt x="1" y="383"/>
                        <a:pt x="1" y="385"/>
                      </a:cubicBezTo>
                      <a:cubicBezTo>
                        <a:pt x="0" y="386"/>
                        <a:pt x="1" y="387"/>
                        <a:pt x="1" y="389"/>
                      </a:cubicBezTo>
                      <a:cubicBezTo>
                        <a:pt x="2" y="392"/>
                        <a:pt x="3" y="396"/>
                        <a:pt x="3" y="399"/>
                      </a:cubicBezTo>
                      <a:cubicBezTo>
                        <a:pt x="3" y="403"/>
                        <a:pt x="2" y="407"/>
                        <a:pt x="4" y="407"/>
                      </a:cubicBezTo>
                      <a:cubicBezTo>
                        <a:pt x="5" y="407"/>
                        <a:pt x="5" y="407"/>
                        <a:pt x="6" y="408"/>
                      </a:cubicBezTo>
                      <a:cubicBezTo>
                        <a:pt x="6" y="410"/>
                        <a:pt x="7" y="412"/>
                        <a:pt x="7" y="410"/>
                      </a:cubicBezTo>
                      <a:cubicBezTo>
                        <a:pt x="8" y="409"/>
                        <a:pt x="7" y="406"/>
                        <a:pt x="8" y="405"/>
                      </a:cubicBezTo>
                      <a:cubicBezTo>
                        <a:pt x="9" y="405"/>
                        <a:pt x="10" y="406"/>
                        <a:pt x="9" y="408"/>
                      </a:cubicBezTo>
                      <a:cubicBezTo>
                        <a:pt x="8" y="409"/>
                        <a:pt x="7" y="412"/>
                        <a:pt x="8" y="411"/>
                      </a:cubicBezTo>
                      <a:cubicBezTo>
                        <a:pt x="10" y="411"/>
                        <a:pt x="11" y="407"/>
                        <a:pt x="13" y="408"/>
                      </a:cubicBezTo>
                      <a:cubicBezTo>
                        <a:pt x="14" y="409"/>
                        <a:pt x="14" y="410"/>
                        <a:pt x="13" y="411"/>
                      </a:cubicBezTo>
                      <a:cubicBezTo>
                        <a:pt x="11" y="412"/>
                        <a:pt x="8" y="413"/>
                        <a:pt x="7" y="415"/>
                      </a:cubicBezTo>
                      <a:cubicBezTo>
                        <a:pt x="6" y="416"/>
                        <a:pt x="7" y="417"/>
                        <a:pt x="8" y="417"/>
                      </a:cubicBezTo>
                      <a:cubicBezTo>
                        <a:pt x="10" y="418"/>
                        <a:pt x="11" y="415"/>
                        <a:pt x="11" y="418"/>
                      </a:cubicBezTo>
                      <a:cubicBezTo>
                        <a:pt x="12" y="420"/>
                        <a:pt x="12" y="416"/>
                        <a:pt x="13" y="414"/>
                      </a:cubicBezTo>
                      <a:cubicBezTo>
                        <a:pt x="13" y="413"/>
                        <a:pt x="12" y="419"/>
                        <a:pt x="12" y="421"/>
                      </a:cubicBezTo>
                      <a:cubicBezTo>
                        <a:pt x="11" y="424"/>
                        <a:pt x="11" y="426"/>
                        <a:pt x="12" y="428"/>
                      </a:cubicBezTo>
                      <a:cubicBezTo>
                        <a:pt x="13" y="429"/>
                        <a:pt x="14" y="429"/>
                        <a:pt x="14" y="431"/>
                      </a:cubicBezTo>
                      <a:cubicBezTo>
                        <a:pt x="14" y="433"/>
                        <a:pt x="15" y="432"/>
                        <a:pt x="15" y="437"/>
                      </a:cubicBezTo>
                      <a:cubicBezTo>
                        <a:pt x="15" y="441"/>
                        <a:pt x="15" y="441"/>
                        <a:pt x="17" y="440"/>
                      </a:cubicBezTo>
                      <a:cubicBezTo>
                        <a:pt x="18" y="440"/>
                        <a:pt x="19" y="442"/>
                        <a:pt x="19" y="445"/>
                      </a:cubicBezTo>
                      <a:cubicBezTo>
                        <a:pt x="20" y="448"/>
                        <a:pt x="21" y="449"/>
                        <a:pt x="22" y="452"/>
                      </a:cubicBezTo>
                      <a:cubicBezTo>
                        <a:pt x="23" y="454"/>
                        <a:pt x="24" y="454"/>
                        <a:pt x="25" y="456"/>
                      </a:cubicBezTo>
                      <a:cubicBezTo>
                        <a:pt x="26" y="458"/>
                        <a:pt x="26" y="457"/>
                        <a:pt x="28" y="460"/>
                      </a:cubicBezTo>
                      <a:cubicBezTo>
                        <a:pt x="29" y="463"/>
                        <a:pt x="29" y="463"/>
                        <a:pt x="31" y="464"/>
                      </a:cubicBezTo>
                      <a:cubicBezTo>
                        <a:pt x="33" y="464"/>
                        <a:pt x="33" y="464"/>
                        <a:pt x="34" y="467"/>
                      </a:cubicBezTo>
                      <a:cubicBezTo>
                        <a:pt x="34" y="470"/>
                        <a:pt x="34" y="470"/>
                        <a:pt x="32" y="470"/>
                      </a:cubicBezTo>
                      <a:cubicBezTo>
                        <a:pt x="31" y="471"/>
                        <a:pt x="29" y="469"/>
                        <a:pt x="30" y="472"/>
                      </a:cubicBezTo>
                      <a:cubicBezTo>
                        <a:pt x="30" y="474"/>
                        <a:pt x="33" y="476"/>
                        <a:pt x="32" y="477"/>
                      </a:cubicBezTo>
                      <a:cubicBezTo>
                        <a:pt x="30" y="477"/>
                        <a:pt x="29" y="477"/>
                        <a:pt x="28" y="477"/>
                      </a:cubicBezTo>
                      <a:cubicBezTo>
                        <a:pt x="27" y="477"/>
                        <a:pt x="28" y="480"/>
                        <a:pt x="30" y="483"/>
                      </a:cubicBezTo>
                      <a:cubicBezTo>
                        <a:pt x="32" y="486"/>
                        <a:pt x="33" y="488"/>
                        <a:pt x="34" y="490"/>
                      </a:cubicBezTo>
                      <a:cubicBezTo>
                        <a:pt x="34" y="492"/>
                        <a:pt x="35" y="492"/>
                        <a:pt x="35" y="492"/>
                      </a:cubicBezTo>
                      <a:cubicBezTo>
                        <a:pt x="36" y="493"/>
                        <a:pt x="36" y="494"/>
                        <a:pt x="36" y="495"/>
                      </a:cubicBezTo>
                      <a:cubicBezTo>
                        <a:pt x="35" y="497"/>
                        <a:pt x="33" y="498"/>
                        <a:pt x="34" y="500"/>
                      </a:cubicBezTo>
                      <a:cubicBezTo>
                        <a:pt x="35" y="502"/>
                        <a:pt x="35" y="501"/>
                        <a:pt x="34" y="502"/>
                      </a:cubicBezTo>
                      <a:cubicBezTo>
                        <a:pt x="33" y="503"/>
                        <a:pt x="34" y="503"/>
                        <a:pt x="35" y="503"/>
                      </a:cubicBezTo>
                      <a:cubicBezTo>
                        <a:pt x="37" y="503"/>
                        <a:pt x="37" y="502"/>
                        <a:pt x="40" y="504"/>
                      </a:cubicBezTo>
                      <a:cubicBezTo>
                        <a:pt x="42" y="505"/>
                        <a:pt x="42" y="505"/>
                        <a:pt x="44" y="503"/>
                      </a:cubicBezTo>
                      <a:cubicBezTo>
                        <a:pt x="46" y="501"/>
                        <a:pt x="49" y="501"/>
                        <a:pt x="52" y="501"/>
                      </a:cubicBezTo>
                      <a:cubicBezTo>
                        <a:pt x="55" y="502"/>
                        <a:pt x="56" y="502"/>
                        <a:pt x="57" y="501"/>
                      </a:cubicBezTo>
                      <a:cubicBezTo>
                        <a:pt x="59" y="500"/>
                        <a:pt x="59" y="498"/>
                        <a:pt x="58" y="495"/>
                      </a:cubicBezTo>
                      <a:cubicBezTo>
                        <a:pt x="57" y="493"/>
                        <a:pt x="55" y="490"/>
                        <a:pt x="57" y="487"/>
                      </a:cubicBezTo>
                      <a:cubicBezTo>
                        <a:pt x="59" y="484"/>
                        <a:pt x="61" y="482"/>
                        <a:pt x="62" y="483"/>
                      </a:cubicBezTo>
                      <a:cubicBezTo>
                        <a:pt x="63" y="485"/>
                        <a:pt x="65" y="484"/>
                        <a:pt x="65" y="483"/>
                      </a:cubicBezTo>
                      <a:cubicBezTo>
                        <a:pt x="65" y="482"/>
                        <a:pt x="64" y="480"/>
                        <a:pt x="66" y="479"/>
                      </a:cubicBezTo>
                      <a:cubicBezTo>
                        <a:pt x="68" y="479"/>
                        <a:pt x="71" y="480"/>
                        <a:pt x="74" y="480"/>
                      </a:cubicBezTo>
                      <a:cubicBezTo>
                        <a:pt x="77" y="479"/>
                        <a:pt x="78" y="478"/>
                        <a:pt x="81" y="479"/>
                      </a:cubicBezTo>
                      <a:cubicBezTo>
                        <a:pt x="83" y="480"/>
                        <a:pt x="83" y="480"/>
                        <a:pt x="85" y="478"/>
                      </a:cubicBezTo>
                      <a:cubicBezTo>
                        <a:pt x="86" y="477"/>
                        <a:pt x="88" y="469"/>
                        <a:pt x="88" y="467"/>
                      </a:cubicBezTo>
                      <a:cubicBezTo>
                        <a:pt x="89" y="465"/>
                        <a:pt x="92" y="462"/>
                        <a:pt x="92" y="459"/>
                      </a:cubicBezTo>
                      <a:cubicBezTo>
                        <a:pt x="92" y="456"/>
                        <a:pt x="91" y="454"/>
                        <a:pt x="93" y="453"/>
                      </a:cubicBezTo>
                      <a:cubicBezTo>
                        <a:pt x="95" y="452"/>
                        <a:pt x="92" y="449"/>
                        <a:pt x="92" y="446"/>
                      </a:cubicBezTo>
                      <a:cubicBezTo>
                        <a:pt x="91" y="443"/>
                        <a:pt x="92" y="443"/>
                        <a:pt x="94" y="441"/>
                      </a:cubicBezTo>
                      <a:cubicBezTo>
                        <a:pt x="96" y="438"/>
                        <a:pt x="94" y="438"/>
                        <a:pt x="93" y="436"/>
                      </a:cubicBezTo>
                      <a:cubicBezTo>
                        <a:pt x="92" y="434"/>
                        <a:pt x="92" y="432"/>
                        <a:pt x="94" y="431"/>
                      </a:cubicBezTo>
                      <a:cubicBezTo>
                        <a:pt x="96" y="430"/>
                        <a:pt x="93" y="428"/>
                        <a:pt x="92" y="426"/>
                      </a:cubicBezTo>
                      <a:cubicBezTo>
                        <a:pt x="92" y="424"/>
                        <a:pt x="91" y="423"/>
                        <a:pt x="94" y="423"/>
                      </a:cubicBezTo>
                      <a:cubicBezTo>
                        <a:pt x="96" y="424"/>
                        <a:pt x="95" y="423"/>
                        <a:pt x="95" y="421"/>
                      </a:cubicBezTo>
                      <a:cubicBezTo>
                        <a:pt x="95" y="418"/>
                        <a:pt x="95" y="419"/>
                        <a:pt x="96" y="417"/>
                      </a:cubicBezTo>
                      <a:cubicBezTo>
                        <a:pt x="97" y="415"/>
                        <a:pt x="97" y="413"/>
                        <a:pt x="94" y="410"/>
                      </a:cubicBezTo>
                      <a:cubicBezTo>
                        <a:pt x="92" y="406"/>
                        <a:pt x="88" y="403"/>
                        <a:pt x="90" y="404"/>
                      </a:cubicBezTo>
                      <a:cubicBezTo>
                        <a:pt x="92" y="405"/>
                        <a:pt x="96" y="407"/>
                        <a:pt x="96" y="404"/>
                      </a:cubicBezTo>
                      <a:cubicBezTo>
                        <a:pt x="96" y="401"/>
                        <a:pt x="93" y="399"/>
                        <a:pt x="91" y="399"/>
                      </a:cubicBezTo>
                      <a:cubicBezTo>
                        <a:pt x="89" y="399"/>
                        <a:pt x="86" y="401"/>
                        <a:pt x="88" y="399"/>
                      </a:cubicBezTo>
                      <a:cubicBezTo>
                        <a:pt x="89" y="398"/>
                        <a:pt x="92" y="398"/>
                        <a:pt x="95" y="399"/>
                      </a:cubicBezTo>
                      <a:cubicBezTo>
                        <a:pt x="98" y="399"/>
                        <a:pt x="101" y="400"/>
                        <a:pt x="100" y="398"/>
                      </a:cubicBezTo>
                      <a:cubicBezTo>
                        <a:pt x="100" y="396"/>
                        <a:pt x="99" y="395"/>
                        <a:pt x="102" y="395"/>
                      </a:cubicBezTo>
                      <a:cubicBezTo>
                        <a:pt x="105" y="395"/>
                        <a:pt x="107" y="394"/>
                        <a:pt x="106" y="392"/>
                      </a:cubicBezTo>
                      <a:cubicBezTo>
                        <a:pt x="106" y="389"/>
                        <a:pt x="106" y="390"/>
                        <a:pt x="108" y="389"/>
                      </a:cubicBezTo>
                      <a:cubicBezTo>
                        <a:pt x="109" y="388"/>
                        <a:pt x="109" y="387"/>
                        <a:pt x="109" y="385"/>
                      </a:cubicBezTo>
                      <a:cubicBezTo>
                        <a:pt x="108" y="382"/>
                        <a:pt x="110" y="383"/>
                        <a:pt x="110" y="386"/>
                      </a:cubicBezTo>
                      <a:cubicBezTo>
                        <a:pt x="110" y="390"/>
                        <a:pt x="110" y="393"/>
                        <a:pt x="112" y="391"/>
                      </a:cubicBezTo>
                      <a:cubicBezTo>
                        <a:pt x="114" y="389"/>
                        <a:pt x="113" y="386"/>
                        <a:pt x="115" y="385"/>
                      </a:cubicBezTo>
                      <a:cubicBezTo>
                        <a:pt x="116" y="384"/>
                        <a:pt x="116" y="388"/>
                        <a:pt x="116" y="386"/>
                      </a:cubicBezTo>
                      <a:cubicBezTo>
                        <a:pt x="117" y="383"/>
                        <a:pt x="116" y="382"/>
                        <a:pt x="119" y="382"/>
                      </a:cubicBezTo>
                      <a:cubicBezTo>
                        <a:pt x="121" y="381"/>
                        <a:pt x="119" y="387"/>
                        <a:pt x="120" y="385"/>
                      </a:cubicBezTo>
                      <a:cubicBezTo>
                        <a:pt x="122" y="383"/>
                        <a:pt x="121" y="381"/>
                        <a:pt x="120" y="379"/>
                      </a:cubicBezTo>
                      <a:cubicBezTo>
                        <a:pt x="119" y="377"/>
                        <a:pt x="118" y="376"/>
                        <a:pt x="117" y="373"/>
                      </a:cubicBezTo>
                      <a:cubicBezTo>
                        <a:pt x="116" y="371"/>
                        <a:pt x="119" y="370"/>
                        <a:pt x="120" y="368"/>
                      </a:cubicBezTo>
                      <a:cubicBezTo>
                        <a:pt x="121" y="367"/>
                        <a:pt x="123" y="366"/>
                        <a:pt x="124" y="363"/>
                      </a:cubicBezTo>
                      <a:cubicBezTo>
                        <a:pt x="125" y="360"/>
                        <a:pt x="127" y="361"/>
                        <a:pt x="129" y="360"/>
                      </a:cubicBezTo>
                      <a:cubicBezTo>
                        <a:pt x="131" y="359"/>
                        <a:pt x="128" y="358"/>
                        <a:pt x="127" y="355"/>
                      </a:cubicBezTo>
                      <a:cubicBezTo>
                        <a:pt x="126" y="352"/>
                        <a:pt x="127" y="347"/>
                        <a:pt x="125" y="346"/>
                      </a:cubicBezTo>
                      <a:cubicBezTo>
                        <a:pt x="122" y="346"/>
                        <a:pt x="120" y="346"/>
                        <a:pt x="120" y="342"/>
                      </a:cubicBezTo>
                      <a:cubicBezTo>
                        <a:pt x="119" y="338"/>
                        <a:pt x="120" y="340"/>
                        <a:pt x="120" y="337"/>
                      </a:cubicBezTo>
                      <a:cubicBezTo>
                        <a:pt x="120" y="334"/>
                        <a:pt x="118" y="331"/>
                        <a:pt x="118" y="332"/>
                      </a:cubicBezTo>
                      <a:cubicBezTo>
                        <a:pt x="117" y="333"/>
                        <a:pt x="117" y="334"/>
                        <a:pt x="117" y="336"/>
                      </a:cubicBezTo>
                      <a:cubicBezTo>
                        <a:pt x="117" y="337"/>
                        <a:pt x="116" y="337"/>
                        <a:pt x="115" y="337"/>
                      </a:cubicBezTo>
                      <a:cubicBezTo>
                        <a:pt x="114" y="337"/>
                        <a:pt x="112" y="333"/>
                        <a:pt x="111" y="332"/>
                      </a:cubicBezTo>
                      <a:cubicBezTo>
                        <a:pt x="111" y="331"/>
                        <a:pt x="111" y="327"/>
                        <a:pt x="110" y="327"/>
                      </a:cubicBezTo>
                      <a:cubicBezTo>
                        <a:pt x="109" y="328"/>
                        <a:pt x="107" y="329"/>
                        <a:pt x="106" y="330"/>
                      </a:cubicBezTo>
                      <a:cubicBezTo>
                        <a:pt x="106" y="331"/>
                        <a:pt x="104" y="330"/>
                        <a:pt x="104" y="328"/>
                      </a:cubicBezTo>
                      <a:cubicBezTo>
                        <a:pt x="104" y="325"/>
                        <a:pt x="103" y="325"/>
                        <a:pt x="101" y="326"/>
                      </a:cubicBezTo>
                      <a:cubicBezTo>
                        <a:pt x="99" y="327"/>
                        <a:pt x="96" y="326"/>
                        <a:pt x="98" y="324"/>
                      </a:cubicBezTo>
                      <a:cubicBezTo>
                        <a:pt x="99" y="322"/>
                        <a:pt x="99" y="322"/>
                        <a:pt x="97" y="319"/>
                      </a:cubicBezTo>
                      <a:cubicBezTo>
                        <a:pt x="96" y="315"/>
                        <a:pt x="95" y="315"/>
                        <a:pt x="95" y="311"/>
                      </a:cubicBezTo>
                      <a:cubicBezTo>
                        <a:pt x="95" y="306"/>
                        <a:pt x="95" y="301"/>
                        <a:pt x="95" y="299"/>
                      </a:cubicBezTo>
                      <a:cubicBezTo>
                        <a:pt x="94" y="297"/>
                        <a:pt x="94" y="297"/>
                        <a:pt x="94" y="294"/>
                      </a:cubicBezTo>
                      <a:cubicBezTo>
                        <a:pt x="94" y="292"/>
                        <a:pt x="93" y="292"/>
                        <a:pt x="94" y="290"/>
                      </a:cubicBezTo>
                      <a:cubicBezTo>
                        <a:pt x="94" y="288"/>
                        <a:pt x="93" y="285"/>
                        <a:pt x="94" y="285"/>
                      </a:cubicBezTo>
                      <a:cubicBezTo>
                        <a:pt x="96" y="285"/>
                        <a:pt x="97" y="285"/>
                        <a:pt x="98" y="287"/>
                      </a:cubicBezTo>
                      <a:cubicBezTo>
                        <a:pt x="99" y="289"/>
                        <a:pt x="99" y="288"/>
                        <a:pt x="99" y="286"/>
                      </a:cubicBezTo>
                      <a:cubicBezTo>
                        <a:pt x="99" y="284"/>
                        <a:pt x="96" y="285"/>
                        <a:pt x="96" y="281"/>
                      </a:cubicBezTo>
                      <a:cubicBezTo>
                        <a:pt x="97" y="278"/>
                        <a:pt x="97" y="275"/>
                        <a:pt x="98" y="272"/>
                      </a:cubicBezTo>
                      <a:cubicBezTo>
                        <a:pt x="99" y="269"/>
                        <a:pt x="98" y="268"/>
                        <a:pt x="99" y="267"/>
                      </a:cubicBezTo>
                      <a:cubicBezTo>
                        <a:pt x="101" y="266"/>
                        <a:pt x="99" y="265"/>
                        <a:pt x="98" y="264"/>
                      </a:cubicBezTo>
                      <a:cubicBezTo>
                        <a:pt x="96" y="262"/>
                        <a:pt x="95" y="262"/>
                        <a:pt x="96" y="259"/>
                      </a:cubicBezTo>
                      <a:cubicBezTo>
                        <a:pt x="97" y="256"/>
                        <a:pt x="97" y="255"/>
                        <a:pt x="98" y="256"/>
                      </a:cubicBezTo>
                      <a:cubicBezTo>
                        <a:pt x="99" y="258"/>
                        <a:pt x="100" y="258"/>
                        <a:pt x="102" y="256"/>
                      </a:cubicBezTo>
                      <a:cubicBezTo>
                        <a:pt x="103" y="255"/>
                        <a:pt x="104" y="251"/>
                        <a:pt x="104" y="251"/>
                      </a:cubicBezTo>
                      <a:cubicBezTo>
                        <a:pt x="104" y="251"/>
                        <a:pt x="105" y="246"/>
                        <a:pt x="103" y="243"/>
                      </a:cubicBezTo>
                      <a:cubicBezTo>
                        <a:pt x="102" y="240"/>
                        <a:pt x="101" y="239"/>
                        <a:pt x="101" y="237"/>
                      </a:cubicBezTo>
                      <a:cubicBezTo>
                        <a:pt x="101" y="235"/>
                        <a:pt x="101" y="234"/>
                        <a:pt x="101" y="234"/>
                      </a:cubicBezTo>
                      <a:cubicBezTo>
                        <a:pt x="101" y="234"/>
                        <a:pt x="101" y="237"/>
                        <a:pt x="103" y="241"/>
                      </a:cubicBezTo>
                      <a:cubicBezTo>
                        <a:pt x="106" y="244"/>
                        <a:pt x="105" y="248"/>
                        <a:pt x="106" y="247"/>
                      </a:cubicBezTo>
                      <a:cubicBezTo>
                        <a:pt x="108" y="245"/>
                        <a:pt x="107" y="240"/>
                        <a:pt x="109" y="242"/>
                      </a:cubicBezTo>
                      <a:cubicBezTo>
                        <a:pt x="110" y="243"/>
                        <a:pt x="112" y="242"/>
                        <a:pt x="113" y="240"/>
                      </a:cubicBezTo>
                      <a:cubicBezTo>
                        <a:pt x="113" y="239"/>
                        <a:pt x="111" y="239"/>
                        <a:pt x="110" y="237"/>
                      </a:cubicBezTo>
                      <a:cubicBezTo>
                        <a:pt x="109" y="236"/>
                        <a:pt x="111" y="234"/>
                        <a:pt x="112" y="233"/>
                      </a:cubicBezTo>
                      <a:cubicBezTo>
                        <a:pt x="114" y="232"/>
                        <a:pt x="115" y="230"/>
                        <a:pt x="115" y="229"/>
                      </a:cubicBezTo>
                      <a:cubicBezTo>
                        <a:pt x="116" y="227"/>
                        <a:pt x="117" y="227"/>
                        <a:pt x="119" y="228"/>
                      </a:cubicBezTo>
                      <a:cubicBezTo>
                        <a:pt x="121" y="230"/>
                        <a:pt x="121" y="230"/>
                        <a:pt x="122" y="228"/>
                      </a:cubicBezTo>
                      <a:cubicBezTo>
                        <a:pt x="123" y="225"/>
                        <a:pt x="122" y="226"/>
                        <a:pt x="124" y="224"/>
                      </a:cubicBezTo>
                      <a:cubicBezTo>
                        <a:pt x="125" y="222"/>
                        <a:pt x="124" y="219"/>
                        <a:pt x="126" y="219"/>
                      </a:cubicBezTo>
                      <a:cubicBezTo>
                        <a:pt x="128" y="218"/>
                        <a:pt x="127" y="217"/>
                        <a:pt x="128" y="216"/>
                      </a:cubicBezTo>
                      <a:cubicBezTo>
                        <a:pt x="129" y="214"/>
                        <a:pt x="128" y="222"/>
                        <a:pt x="130" y="219"/>
                      </a:cubicBezTo>
                      <a:cubicBezTo>
                        <a:pt x="133" y="217"/>
                        <a:pt x="133" y="214"/>
                        <a:pt x="135" y="214"/>
                      </a:cubicBezTo>
                      <a:cubicBezTo>
                        <a:pt x="137" y="213"/>
                        <a:pt x="138" y="212"/>
                        <a:pt x="139" y="210"/>
                      </a:cubicBezTo>
                      <a:cubicBezTo>
                        <a:pt x="140" y="207"/>
                        <a:pt x="140" y="207"/>
                        <a:pt x="141" y="209"/>
                      </a:cubicBezTo>
                      <a:cubicBezTo>
                        <a:pt x="141" y="211"/>
                        <a:pt x="143" y="208"/>
                        <a:pt x="144" y="206"/>
                      </a:cubicBezTo>
                      <a:cubicBezTo>
                        <a:pt x="146" y="204"/>
                        <a:pt x="147" y="203"/>
                        <a:pt x="148" y="199"/>
                      </a:cubicBezTo>
                      <a:cubicBezTo>
                        <a:pt x="149" y="195"/>
                        <a:pt x="149" y="192"/>
                        <a:pt x="151" y="190"/>
                      </a:cubicBezTo>
                      <a:cubicBezTo>
                        <a:pt x="153" y="187"/>
                        <a:pt x="156" y="185"/>
                        <a:pt x="157" y="183"/>
                      </a:cubicBezTo>
                      <a:cubicBezTo>
                        <a:pt x="158" y="182"/>
                        <a:pt x="159" y="181"/>
                        <a:pt x="157" y="178"/>
                      </a:cubicBezTo>
                      <a:cubicBezTo>
                        <a:pt x="155" y="175"/>
                        <a:pt x="155" y="175"/>
                        <a:pt x="153" y="174"/>
                      </a:cubicBezTo>
                      <a:cubicBezTo>
                        <a:pt x="151" y="173"/>
                        <a:pt x="150" y="173"/>
                        <a:pt x="151" y="171"/>
                      </a:cubicBezTo>
                      <a:cubicBezTo>
                        <a:pt x="152" y="169"/>
                        <a:pt x="152" y="169"/>
                        <a:pt x="150" y="168"/>
                      </a:cubicBezTo>
                      <a:cubicBezTo>
                        <a:pt x="149" y="167"/>
                        <a:pt x="148" y="166"/>
                        <a:pt x="150" y="164"/>
                      </a:cubicBezTo>
                      <a:cubicBezTo>
                        <a:pt x="152" y="161"/>
                        <a:pt x="153" y="160"/>
                        <a:pt x="155" y="157"/>
                      </a:cubicBezTo>
                      <a:cubicBezTo>
                        <a:pt x="157" y="154"/>
                        <a:pt x="157" y="154"/>
                        <a:pt x="156" y="151"/>
                      </a:cubicBezTo>
                      <a:cubicBezTo>
                        <a:pt x="156" y="147"/>
                        <a:pt x="155" y="149"/>
                        <a:pt x="154" y="146"/>
                      </a:cubicBezTo>
                      <a:cubicBezTo>
                        <a:pt x="154" y="143"/>
                        <a:pt x="154" y="145"/>
                        <a:pt x="156" y="145"/>
                      </a:cubicBezTo>
                      <a:cubicBezTo>
                        <a:pt x="159" y="145"/>
                        <a:pt x="160" y="145"/>
                        <a:pt x="161" y="142"/>
                      </a:cubicBezTo>
                      <a:cubicBezTo>
                        <a:pt x="162" y="140"/>
                        <a:pt x="160" y="141"/>
                        <a:pt x="160" y="140"/>
                      </a:cubicBezTo>
                      <a:cubicBezTo>
                        <a:pt x="160" y="138"/>
                        <a:pt x="162" y="141"/>
                        <a:pt x="163" y="138"/>
                      </a:cubicBezTo>
                      <a:cubicBezTo>
                        <a:pt x="163" y="136"/>
                        <a:pt x="163" y="135"/>
                        <a:pt x="164" y="137"/>
                      </a:cubicBezTo>
                      <a:cubicBezTo>
                        <a:pt x="166" y="139"/>
                        <a:pt x="169" y="141"/>
                        <a:pt x="168" y="138"/>
                      </a:cubicBezTo>
                      <a:cubicBezTo>
                        <a:pt x="167" y="134"/>
                        <a:pt x="166" y="133"/>
                        <a:pt x="166" y="129"/>
                      </a:cubicBezTo>
                      <a:cubicBezTo>
                        <a:pt x="166" y="125"/>
                        <a:pt x="165" y="124"/>
                        <a:pt x="168" y="126"/>
                      </a:cubicBezTo>
                      <a:cubicBezTo>
                        <a:pt x="171" y="128"/>
                        <a:pt x="172" y="131"/>
                        <a:pt x="172" y="128"/>
                      </a:cubicBezTo>
                      <a:cubicBezTo>
                        <a:pt x="172" y="126"/>
                        <a:pt x="173" y="124"/>
                        <a:pt x="174" y="126"/>
                      </a:cubicBezTo>
                      <a:cubicBezTo>
                        <a:pt x="176" y="127"/>
                        <a:pt x="176" y="129"/>
                        <a:pt x="178" y="129"/>
                      </a:cubicBezTo>
                      <a:cubicBezTo>
                        <a:pt x="180" y="130"/>
                        <a:pt x="178" y="127"/>
                        <a:pt x="179" y="126"/>
                      </a:cubicBezTo>
                      <a:cubicBezTo>
                        <a:pt x="180" y="125"/>
                        <a:pt x="181" y="129"/>
                        <a:pt x="182" y="129"/>
                      </a:cubicBezTo>
                      <a:cubicBezTo>
                        <a:pt x="184" y="129"/>
                        <a:pt x="183" y="127"/>
                        <a:pt x="185" y="128"/>
                      </a:cubicBezTo>
                      <a:cubicBezTo>
                        <a:pt x="188" y="130"/>
                        <a:pt x="188" y="129"/>
                        <a:pt x="191" y="129"/>
                      </a:cubicBezTo>
                      <a:cubicBezTo>
                        <a:pt x="193" y="128"/>
                        <a:pt x="195" y="128"/>
                        <a:pt x="195" y="128"/>
                      </a:cubicBezTo>
                      <a:cubicBezTo>
                        <a:pt x="195" y="128"/>
                        <a:pt x="193" y="123"/>
                        <a:pt x="191" y="118"/>
                      </a:cubicBezTo>
                      <a:cubicBezTo>
                        <a:pt x="190" y="114"/>
                        <a:pt x="187" y="111"/>
                        <a:pt x="185" y="108"/>
                      </a:cubicBezTo>
                      <a:cubicBezTo>
                        <a:pt x="183" y="104"/>
                        <a:pt x="186" y="101"/>
                        <a:pt x="187" y="98"/>
                      </a:cubicBezTo>
                      <a:cubicBezTo>
                        <a:pt x="188" y="95"/>
                        <a:pt x="187" y="91"/>
                        <a:pt x="188" y="89"/>
                      </a:cubicBezTo>
                      <a:cubicBezTo>
                        <a:pt x="189" y="87"/>
                        <a:pt x="188" y="85"/>
                        <a:pt x="186" y="83"/>
                      </a:cubicBezTo>
                      <a:cubicBezTo>
                        <a:pt x="184" y="81"/>
                        <a:pt x="181" y="78"/>
                        <a:pt x="180" y="75"/>
                      </a:cubicBezTo>
                      <a:cubicBezTo>
                        <a:pt x="180" y="72"/>
                        <a:pt x="182" y="69"/>
                        <a:pt x="183" y="67"/>
                      </a:cubicBezTo>
                      <a:cubicBezTo>
                        <a:pt x="184" y="64"/>
                        <a:pt x="181" y="62"/>
                        <a:pt x="179" y="64"/>
                      </a:cubicBezTo>
                      <a:cubicBezTo>
                        <a:pt x="177" y="65"/>
                        <a:pt x="177" y="58"/>
                        <a:pt x="177" y="54"/>
                      </a:cubicBezTo>
                      <a:cubicBezTo>
                        <a:pt x="177" y="51"/>
                        <a:pt x="177" y="47"/>
                        <a:pt x="179" y="44"/>
                      </a:cubicBezTo>
                      <a:cubicBezTo>
                        <a:pt x="181" y="41"/>
                        <a:pt x="175" y="37"/>
                        <a:pt x="173" y="38"/>
                      </a:cubicBezTo>
                      <a:cubicBezTo>
                        <a:pt x="170" y="39"/>
                        <a:pt x="170" y="32"/>
                        <a:pt x="167" y="30"/>
                      </a:cubicBezTo>
                      <a:cubicBezTo>
                        <a:pt x="164" y="27"/>
                        <a:pt x="158" y="24"/>
                        <a:pt x="155" y="23"/>
                      </a:cubicBezTo>
                      <a:cubicBezTo>
                        <a:pt x="152" y="22"/>
                        <a:pt x="141" y="12"/>
                        <a:pt x="137" y="10"/>
                      </a:cubicBezTo>
                      <a:cubicBezTo>
                        <a:pt x="134" y="9"/>
                        <a:pt x="131" y="3"/>
                        <a:pt x="131" y="0"/>
                      </a:cubicBezTo>
                      <a:close/>
                    </a:path>
                  </a:pathLst>
                </a:custGeom>
                <a:pattFill prst="wdUpDiag">
                  <a:fgClr>
                    <a:schemeClr val="accent3"/>
                  </a:fgClr>
                  <a:bgClr>
                    <a:schemeClr val="accent4"/>
                  </a:bgClr>
                </a:patt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9" name="Freeform 166">
                  <a:extLst>
                    <a:ext uri="{FF2B5EF4-FFF2-40B4-BE49-F238E27FC236}">
                      <a16:creationId xmlns:a16="http://schemas.microsoft.com/office/drawing/2014/main" id="{5ED477A1-AF6F-8ADD-ADD0-C2AF70A222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92551" y="3878263"/>
                  <a:ext cx="46038" cy="150813"/>
                </a:xfrm>
                <a:custGeom>
                  <a:avLst/>
                  <a:gdLst>
                    <a:gd name="T0" fmla="*/ 0 w 11"/>
                    <a:gd name="T1" fmla="*/ 28 h 36"/>
                    <a:gd name="T2" fmla="*/ 2 w 11"/>
                    <a:gd name="T3" fmla="*/ 19 h 36"/>
                    <a:gd name="T4" fmla="*/ 6 w 11"/>
                    <a:gd name="T5" fmla="*/ 11 h 36"/>
                    <a:gd name="T6" fmla="*/ 10 w 11"/>
                    <a:gd name="T7" fmla="*/ 1 h 36"/>
                    <a:gd name="T8" fmla="*/ 11 w 11"/>
                    <a:gd name="T9" fmla="*/ 5 h 36"/>
                    <a:gd name="T10" fmla="*/ 8 w 11"/>
                    <a:gd name="T11" fmla="*/ 13 h 36"/>
                    <a:gd name="T12" fmla="*/ 6 w 11"/>
                    <a:gd name="T13" fmla="*/ 22 h 36"/>
                    <a:gd name="T14" fmla="*/ 2 w 11"/>
                    <a:gd name="T15" fmla="*/ 33 h 36"/>
                    <a:gd name="T16" fmla="*/ 0 w 11"/>
                    <a:gd name="T17" fmla="*/ 34 h 36"/>
                    <a:gd name="T18" fmla="*/ 0 w 11"/>
                    <a:gd name="T19" fmla="*/ 28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1" h="36">
                      <a:moveTo>
                        <a:pt x="0" y="28"/>
                      </a:moveTo>
                      <a:cubicBezTo>
                        <a:pt x="0" y="24"/>
                        <a:pt x="0" y="21"/>
                        <a:pt x="2" y="19"/>
                      </a:cubicBezTo>
                      <a:cubicBezTo>
                        <a:pt x="4" y="16"/>
                        <a:pt x="5" y="14"/>
                        <a:pt x="6" y="11"/>
                      </a:cubicBezTo>
                      <a:cubicBezTo>
                        <a:pt x="7" y="8"/>
                        <a:pt x="9" y="2"/>
                        <a:pt x="10" y="1"/>
                      </a:cubicBezTo>
                      <a:cubicBezTo>
                        <a:pt x="11" y="0"/>
                        <a:pt x="11" y="3"/>
                        <a:pt x="11" y="5"/>
                      </a:cubicBezTo>
                      <a:cubicBezTo>
                        <a:pt x="10" y="7"/>
                        <a:pt x="8" y="10"/>
                        <a:pt x="8" y="13"/>
                      </a:cubicBezTo>
                      <a:cubicBezTo>
                        <a:pt x="7" y="17"/>
                        <a:pt x="6" y="18"/>
                        <a:pt x="6" y="22"/>
                      </a:cubicBezTo>
                      <a:cubicBezTo>
                        <a:pt x="6" y="26"/>
                        <a:pt x="3" y="29"/>
                        <a:pt x="2" y="33"/>
                      </a:cubicBezTo>
                      <a:cubicBezTo>
                        <a:pt x="2" y="36"/>
                        <a:pt x="1" y="36"/>
                        <a:pt x="0" y="34"/>
                      </a:cubicBezTo>
                      <a:cubicBezTo>
                        <a:pt x="0" y="31"/>
                        <a:pt x="0" y="28"/>
                        <a:pt x="0" y="28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0" name="Freeform 167">
                  <a:extLst>
                    <a:ext uri="{FF2B5EF4-FFF2-40B4-BE49-F238E27FC236}">
                      <a16:creationId xmlns:a16="http://schemas.microsoft.com/office/drawing/2014/main" id="{540547EB-D659-FADA-35A0-C56D4A95523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00501" y="3794125"/>
                  <a:ext cx="66675" cy="155575"/>
                </a:xfrm>
                <a:custGeom>
                  <a:avLst/>
                  <a:gdLst>
                    <a:gd name="T0" fmla="*/ 1 w 16"/>
                    <a:gd name="T1" fmla="*/ 14 h 37"/>
                    <a:gd name="T2" fmla="*/ 2 w 16"/>
                    <a:gd name="T3" fmla="*/ 18 h 37"/>
                    <a:gd name="T4" fmla="*/ 2 w 16"/>
                    <a:gd name="T5" fmla="*/ 25 h 37"/>
                    <a:gd name="T6" fmla="*/ 4 w 16"/>
                    <a:gd name="T7" fmla="*/ 29 h 37"/>
                    <a:gd name="T8" fmla="*/ 4 w 16"/>
                    <a:gd name="T9" fmla="*/ 31 h 37"/>
                    <a:gd name="T10" fmla="*/ 2 w 16"/>
                    <a:gd name="T11" fmla="*/ 36 h 37"/>
                    <a:gd name="T12" fmla="*/ 5 w 16"/>
                    <a:gd name="T13" fmla="*/ 32 h 37"/>
                    <a:gd name="T14" fmla="*/ 7 w 16"/>
                    <a:gd name="T15" fmla="*/ 27 h 37"/>
                    <a:gd name="T16" fmla="*/ 12 w 16"/>
                    <a:gd name="T17" fmla="*/ 21 h 37"/>
                    <a:gd name="T18" fmla="*/ 14 w 16"/>
                    <a:gd name="T19" fmla="*/ 17 h 37"/>
                    <a:gd name="T20" fmla="*/ 12 w 16"/>
                    <a:gd name="T21" fmla="*/ 13 h 37"/>
                    <a:gd name="T22" fmla="*/ 13 w 16"/>
                    <a:gd name="T23" fmla="*/ 9 h 37"/>
                    <a:gd name="T24" fmla="*/ 16 w 16"/>
                    <a:gd name="T25" fmla="*/ 3 h 37"/>
                    <a:gd name="T26" fmla="*/ 14 w 16"/>
                    <a:gd name="T27" fmla="*/ 2 h 37"/>
                    <a:gd name="T28" fmla="*/ 8 w 16"/>
                    <a:gd name="T29" fmla="*/ 3 h 37"/>
                    <a:gd name="T30" fmla="*/ 5 w 16"/>
                    <a:gd name="T31" fmla="*/ 8 h 37"/>
                    <a:gd name="T32" fmla="*/ 1 w 16"/>
                    <a:gd name="T33" fmla="*/ 14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6" h="37">
                      <a:moveTo>
                        <a:pt x="1" y="14"/>
                      </a:moveTo>
                      <a:cubicBezTo>
                        <a:pt x="0" y="15"/>
                        <a:pt x="1" y="16"/>
                        <a:pt x="2" y="18"/>
                      </a:cubicBezTo>
                      <a:cubicBezTo>
                        <a:pt x="2" y="20"/>
                        <a:pt x="2" y="21"/>
                        <a:pt x="2" y="25"/>
                      </a:cubicBezTo>
                      <a:cubicBezTo>
                        <a:pt x="2" y="28"/>
                        <a:pt x="3" y="28"/>
                        <a:pt x="4" y="29"/>
                      </a:cubicBezTo>
                      <a:cubicBezTo>
                        <a:pt x="5" y="30"/>
                        <a:pt x="5" y="30"/>
                        <a:pt x="4" y="31"/>
                      </a:cubicBezTo>
                      <a:cubicBezTo>
                        <a:pt x="3" y="33"/>
                        <a:pt x="1" y="35"/>
                        <a:pt x="2" y="36"/>
                      </a:cubicBezTo>
                      <a:cubicBezTo>
                        <a:pt x="3" y="37"/>
                        <a:pt x="6" y="34"/>
                        <a:pt x="5" y="32"/>
                      </a:cubicBezTo>
                      <a:cubicBezTo>
                        <a:pt x="5" y="30"/>
                        <a:pt x="5" y="29"/>
                        <a:pt x="7" y="27"/>
                      </a:cubicBezTo>
                      <a:cubicBezTo>
                        <a:pt x="9" y="26"/>
                        <a:pt x="11" y="24"/>
                        <a:pt x="12" y="21"/>
                      </a:cubicBezTo>
                      <a:cubicBezTo>
                        <a:pt x="13" y="19"/>
                        <a:pt x="16" y="18"/>
                        <a:pt x="14" y="17"/>
                      </a:cubicBezTo>
                      <a:cubicBezTo>
                        <a:pt x="13" y="17"/>
                        <a:pt x="11" y="15"/>
                        <a:pt x="12" y="13"/>
                      </a:cubicBezTo>
                      <a:cubicBezTo>
                        <a:pt x="12" y="12"/>
                        <a:pt x="11" y="10"/>
                        <a:pt x="13" y="9"/>
                      </a:cubicBezTo>
                      <a:cubicBezTo>
                        <a:pt x="15" y="7"/>
                        <a:pt x="16" y="4"/>
                        <a:pt x="16" y="3"/>
                      </a:cubicBezTo>
                      <a:cubicBezTo>
                        <a:pt x="16" y="2"/>
                        <a:pt x="15" y="0"/>
                        <a:pt x="14" y="2"/>
                      </a:cubicBezTo>
                      <a:cubicBezTo>
                        <a:pt x="12" y="3"/>
                        <a:pt x="10" y="2"/>
                        <a:pt x="8" y="3"/>
                      </a:cubicBezTo>
                      <a:cubicBezTo>
                        <a:pt x="7" y="4"/>
                        <a:pt x="6" y="5"/>
                        <a:pt x="5" y="8"/>
                      </a:cubicBezTo>
                      <a:cubicBezTo>
                        <a:pt x="3" y="10"/>
                        <a:pt x="4" y="11"/>
                        <a:pt x="1" y="14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81" name="Freeform 168">
                  <a:extLst>
                    <a:ext uri="{FF2B5EF4-FFF2-40B4-BE49-F238E27FC236}">
                      <a16:creationId xmlns:a16="http://schemas.microsoft.com/office/drawing/2014/main" id="{DE4E7C97-6DB9-9137-9B02-288E72F308B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067176" y="3724275"/>
                  <a:ext cx="12700" cy="20638"/>
                </a:xfrm>
                <a:custGeom>
                  <a:avLst/>
                  <a:gdLst>
                    <a:gd name="T0" fmla="*/ 1 w 3"/>
                    <a:gd name="T1" fmla="*/ 2 h 5"/>
                    <a:gd name="T2" fmla="*/ 2 w 3"/>
                    <a:gd name="T3" fmla="*/ 4 h 5"/>
                    <a:gd name="T4" fmla="*/ 1 w 3"/>
                    <a:gd name="T5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5">
                      <a:moveTo>
                        <a:pt x="1" y="2"/>
                      </a:moveTo>
                      <a:cubicBezTo>
                        <a:pt x="0" y="3"/>
                        <a:pt x="1" y="5"/>
                        <a:pt x="2" y="4"/>
                      </a:cubicBezTo>
                      <a:cubicBezTo>
                        <a:pt x="3" y="4"/>
                        <a:pt x="2" y="0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15" name="Freeform 180">
                <a:extLst>
                  <a:ext uri="{FF2B5EF4-FFF2-40B4-BE49-F238E27FC236}">
                    <a16:creationId xmlns:a16="http://schemas.microsoft.com/office/drawing/2014/main" id="{ADCB35EE-CDEC-B69C-84F9-A4847EB7A6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8414" y="4483472"/>
                <a:ext cx="295758" cy="191010"/>
              </a:xfrm>
              <a:custGeom>
                <a:avLst/>
                <a:gdLst>
                  <a:gd name="T0" fmla="*/ 73 w 73"/>
                  <a:gd name="T1" fmla="*/ 34 h 47"/>
                  <a:gd name="T2" fmla="*/ 72 w 73"/>
                  <a:gd name="T3" fmla="*/ 33 h 47"/>
                  <a:gd name="T4" fmla="*/ 72 w 73"/>
                  <a:gd name="T5" fmla="*/ 32 h 47"/>
                  <a:gd name="T6" fmla="*/ 71 w 73"/>
                  <a:gd name="T7" fmla="*/ 32 h 47"/>
                  <a:gd name="T8" fmla="*/ 70 w 73"/>
                  <a:gd name="T9" fmla="*/ 32 h 47"/>
                  <a:gd name="T10" fmla="*/ 70 w 73"/>
                  <a:gd name="T11" fmla="*/ 31 h 47"/>
                  <a:gd name="T12" fmla="*/ 70 w 73"/>
                  <a:gd name="T13" fmla="*/ 30 h 47"/>
                  <a:gd name="T14" fmla="*/ 71 w 73"/>
                  <a:gd name="T15" fmla="*/ 30 h 47"/>
                  <a:gd name="T16" fmla="*/ 71 w 73"/>
                  <a:gd name="T17" fmla="*/ 29 h 47"/>
                  <a:gd name="T18" fmla="*/ 71 w 73"/>
                  <a:gd name="T19" fmla="*/ 28 h 47"/>
                  <a:gd name="T20" fmla="*/ 70 w 73"/>
                  <a:gd name="T21" fmla="*/ 28 h 47"/>
                  <a:gd name="T22" fmla="*/ 70 w 73"/>
                  <a:gd name="T23" fmla="*/ 28 h 47"/>
                  <a:gd name="T24" fmla="*/ 70 w 73"/>
                  <a:gd name="T25" fmla="*/ 27 h 47"/>
                  <a:gd name="T26" fmla="*/ 69 w 73"/>
                  <a:gd name="T27" fmla="*/ 25 h 47"/>
                  <a:gd name="T28" fmla="*/ 69 w 73"/>
                  <a:gd name="T29" fmla="*/ 25 h 47"/>
                  <a:gd name="T30" fmla="*/ 68 w 73"/>
                  <a:gd name="T31" fmla="*/ 24 h 47"/>
                  <a:gd name="T32" fmla="*/ 68 w 73"/>
                  <a:gd name="T33" fmla="*/ 23 h 47"/>
                  <a:gd name="T34" fmla="*/ 68 w 73"/>
                  <a:gd name="T35" fmla="*/ 22 h 47"/>
                  <a:gd name="T36" fmla="*/ 66 w 73"/>
                  <a:gd name="T37" fmla="*/ 23 h 47"/>
                  <a:gd name="T38" fmla="*/ 66 w 73"/>
                  <a:gd name="T39" fmla="*/ 23 h 47"/>
                  <a:gd name="T40" fmla="*/ 64 w 73"/>
                  <a:gd name="T41" fmla="*/ 22 h 47"/>
                  <a:gd name="T42" fmla="*/ 60 w 73"/>
                  <a:gd name="T43" fmla="*/ 17 h 47"/>
                  <a:gd name="T44" fmla="*/ 55 w 73"/>
                  <a:gd name="T45" fmla="*/ 16 h 47"/>
                  <a:gd name="T46" fmla="*/ 57 w 73"/>
                  <a:gd name="T47" fmla="*/ 11 h 47"/>
                  <a:gd name="T48" fmla="*/ 57 w 73"/>
                  <a:gd name="T49" fmla="*/ 7 h 47"/>
                  <a:gd name="T50" fmla="*/ 51 w 73"/>
                  <a:gd name="T51" fmla="*/ 5 h 47"/>
                  <a:gd name="T52" fmla="*/ 46 w 73"/>
                  <a:gd name="T53" fmla="*/ 4 h 47"/>
                  <a:gd name="T54" fmla="*/ 44 w 73"/>
                  <a:gd name="T55" fmla="*/ 1 h 47"/>
                  <a:gd name="T56" fmla="*/ 37 w 73"/>
                  <a:gd name="T57" fmla="*/ 1 h 47"/>
                  <a:gd name="T58" fmla="*/ 32 w 73"/>
                  <a:gd name="T59" fmla="*/ 2 h 47"/>
                  <a:gd name="T60" fmla="*/ 26 w 73"/>
                  <a:gd name="T61" fmla="*/ 5 h 47"/>
                  <a:gd name="T62" fmla="*/ 20 w 73"/>
                  <a:gd name="T63" fmla="*/ 5 h 47"/>
                  <a:gd name="T64" fmla="*/ 16 w 73"/>
                  <a:gd name="T65" fmla="*/ 5 h 47"/>
                  <a:gd name="T66" fmla="*/ 14 w 73"/>
                  <a:gd name="T67" fmla="*/ 2 h 47"/>
                  <a:gd name="T68" fmla="*/ 8 w 73"/>
                  <a:gd name="T69" fmla="*/ 5 h 47"/>
                  <a:gd name="T70" fmla="*/ 0 w 73"/>
                  <a:gd name="T71" fmla="*/ 9 h 47"/>
                  <a:gd name="T72" fmla="*/ 2 w 73"/>
                  <a:gd name="T73" fmla="*/ 12 h 47"/>
                  <a:gd name="T74" fmla="*/ 4 w 73"/>
                  <a:gd name="T75" fmla="*/ 18 h 47"/>
                  <a:gd name="T76" fmla="*/ 11 w 73"/>
                  <a:gd name="T77" fmla="*/ 18 h 47"/>
                  <a:gd name="T78" fmla="*/ 13 w 73"/>
                  <a:gd name="T79" fmla="*/ 22 h 47"/>
                  <a:gd name="T80" fmla="*/ 19 w 73"/>
                  <a:gd name="T81" fmla="*/ 23 h 47"/>
                  <a:gd name="T82" fmla="*/ 20 w 73"/>
                  <a:gd name="T83" fmla="*/ 27 h 47"/>
                  <a:gd name="T84" fmla="*/ 27 w 73"/>
                  <a:gd name="T85" fmla="*/ 28 h 47"/>
                  <a:gd name="T86" fmla="*/ 28 w 73"/>
                  <a:gd name="T87" fmla="*/ 32 h 47"/>
                  <a:gd name="T88" fmla="*/ 29 w 73"/>
                  <a:gd name="T89" fmla="*/ 36 h 47"/>
                  <a:gd name="T90" fmla="*/ 36 w 73"/>
                  <a:gd name="T91" fmla="*/ 35 h 47"/>
                  <a:gd name="T92" fmla="*/ 39 w 73"/>
                  <a:gd name="T93" fmla="*/ 32 h 47"/>
                  <a:gd name="T94" fmla="*/ 41 w 73"/>
                  <a:gd name="T95" fmla="*/ 39 h 47"/>
                  <a:gd name="T96" fmla="*/ 47 w 73"/>
                  <a:gd name="T97" fmla="*/ 42 h 47"/>
                  <a:gd name="T98" fmla="*/ 52 w 73"/>
                  <a:gd name="T99" fmla="*/ 47 h 47"/>
                  <a:gd name="T100" fmla="*/ 58 w 73"/>
                  <a:gd name="T101" fmla="*/ 47 h 47"/>
                  <a:gd name="T102" fmla="*/ 59 w 73"/>
                  <a:gd name="T103" fmla="*/ 43 h 47"/>
                  <a:gd name="T104" fmla="*/ 58 w 73"/>
                  <a:gd name="T105" fmla="*/ 42 h 47"/>
                  <a:gd name="T106" fmla="*/ 57 w 73"/>
                  <a:gd name="T107" fmla="*/ 35 h 47"/>
                  <a:gd name="T108" fmla="*/ 61 w 73"/>
                  <a:gd name="T109" fmla="*/ 30 h 47"/>
                  <a:gd name="T110" fmla="*/ 62 w 73"/>
                  <a:gd name="T111" fmla="*/ 32 h 47"/>
                  <a:gd name="T112" fmla="*/ 62 w 73"/>
                  <a:gd name="T113" fmla="*/ 32 h 47"/>
                  <a:gd name="T114" fmla="*/ 63 w 73"/>
                  <a:gd name="T115" fmla="*/ 33 h 47"/>
                  <a:gd name="T116" fmla="*/ 73 w 73"/>
                  <a:gd name="T117" fmla="*/ 34 h 47"/>
                  <a:gd name="T118" fmla="*/ 73 w 73"/>
                  <a:gd name="T119" fmla="*/ 3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3" h="47">
                    <a:moveTo>
                      <a:pt x="73" y="34"/>
                    </a:moveTo>
                    <a:cubicBezTo>
                      <a:pt x="72" y="33"/>
                      <a:pt x="72" y="33"/>
                      <a:pt x="72" y="33"/>
                    </a:cubicBezTo>
                    <a:cubicBezTo>
                      <a:pt x="72" y="32"/>
                      <a:pt x="72" y="32"/>
                      <a:pt x="72" y="32"/>
                    </a:cubicBezTo>
                    <a:cubicBezTo>
                      <a:pt x="71" y="32"/>
                      <a:pt x="71" y="32"/>
                      <a:pt x="71" y="32"/>
                    </a:cubicBezTo>
                    <a:cubicBezTo>
                      <a:pt x="71" y="32"/>
                      <a:pt x="70" y="32"/>
                      <a:pt x="70" y="32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70" y="31"/>
                      <a:pt x="70" y="30"/>
                      <a:pt x="70" y="30"/>
                    </a:cubicBezTo>
                    <a:cubicBezTo>
                      <a:pt x="70" y="30"/>
                      <a:pt x="71" y="30"/>
                      <a:pt x="71" y="30"/>
                    </a:cubicBezTo>
                    <a:cubicBezTo>
                      <a:pt x="71" y="29"/>
                      <a:pt x="71" y="29"/>
                      <a:pt x="71" y="29"/>
                    </a:cubicBezTo>
                    <a:cubicBezTo>
                      <a:pt x="71" y="29"/>
                      <a:pt x="71" y="29"/>
                      <a:pt x="71" y="28"/>
                    </a:cubicBezTo>
                    <a:cubicBezTo>
                      <a:pt x="71" y="28"/>
                      <a:pt x="71" y="28"/>
                      <a:pt x="70" y="28"/>
                    </a:cubicBezTo>
                    <a:cubicBezTo>
                      <a:pt x="70" y="28"/>
                      <a:pt x="70" y="28"/>
                      <a:pt x="70" y="28"/>
                    </a:cubicBezTo>
                    <a:cubicBezTo>
                      <a:pt x="70" y="28"/>
                      <a:pt x="70" y="27"/>
                      <a:pt x="70" y="27"/>
                    </a:cubicBezTo>
                    <a:cubicBezTo>
                      <a:pt x="69" y="26"/>
                      <a:pt x="69" y="26"/>
                      <a:pt x="69" y="25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8" y="24"/>
                      <a:pt x="68" y="23"/>
                      <a:pt x="68" y="23"/>
                    </a:cubicBezTo>
                    <a:cubicBezTo>
                      <a:pt x="68" y="23"/>
                      <a:pt x="68" y="23"/>
                      <a:pt x="68" y="22"/>
                    </a:cubicBezTo>
                    <a:cubicBezTo>
                      <a:pt x="67" y="22"/>
                      <a:pt x="66" y="23"/>
                      <a:pt x="66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6" y="23"/>
                      <a:pt x="64" y="24"/>
                      <a:pt x="64" y="22"/>
                    </a:cubicBezTo>
                    <a:cubicBezTo>
                      <a:pt x="63" y="21"/>
                      <a:pt x="61" y="17"/>
                      <a:pt x="60" y="17"/>
                    </a:cubicBezTo>
                    <a:cubicBezTo>
                      <a:pt x="58" y="17"/>
                      <a:pt x="55" y="17"/>
                      <a:pt x="55" y="16"/>
                    </a:cubicBezTo>
                    <a:cubicBezTo>
                      <a:pt x="55" y="15"/>
                      <a:pt x="56" y="13"/>
                      <a:pt x="57" y="11"/>
                    </a:cubicBezTo>
                    <a:cubicBezTo>
                      <a:pt x="58" y="9"/>
                      <a:pt x="59" y="8"/>
                      <a:pt x="57" y="7"/>
                    </a:cubicBezTo>
                    <a:cubicBezTo>
                      <a:pt x="56" y="6"/>
                      <a:pt x="53" y="5"/>
                      <a:pt x="51" y="5"/>
                    </a:cubicBezTo>
                    <a:cubicBezTo>
                      <a:pt x="49" y="5"/>
                      <a:pt x="46" y="6"/>
                      <a:pt x="46" y="4"/>
                    </a:cubicBezTo>
                    <a:cubicBezTo>
                      <a:pt x="46" y="2"/>
                      <a:pt x="46" y="1"/>
                      <a:pt x="44" y="1"/>
                    </a:cubicBezTo>
                    <a:cubicBezTo>
                      <a:pt x="42" y="1"/>
                      <a:pt x="39" y="1"/>
                      <a:pt x="37" y="1"/>
                    </a:cubicBezTo>
                    <a:cubicBezTo>
                      <a:pt x="36" y="1"/>
                      <a:pt x="33" y="0"/>
                      <a:pt x="32" y="2"/>
                    </a:cubicBezTo>
                    <a:cubicBezTo>
                      <a:pt x="31" y="3"/>
                      <a:pt x="28" y="5"/>
                      <a:pt x="26" y="5"/>
                    </a:cubicBezTo>
                    <a:cubicBezTo>
                      <a:pt x="24" y="6"/>
                      <a:pt x="21" y="6"/>
                      <a:pt x="20" y="5"/>
                    </a:cubicBezTo>
                    <a:cubicBezTo>
                      <a:pt x="19" y="4"/>
                      <a:pt x="17" y="6"/>
                      <a:pt x="16" y="5"/>
                    </a:cubicBezTo>
                    <a:cubicBezTo>
                      <a:pt x="15" y="4"/>
                      <a:pt x="14" y="2"/>
                      <a:pt x="14" y="2"/>
                    </a:cubicBezTo>
                    <a:cubicBezTo>
                      <a:pt x="14" y="2"/>
                      <a:pt x="10" y="4"/>
                      <a:pt x="8" y="5"/>
                    </a:cubicBezTo>
                    <a:cubicBezTo>
                      <a:pt x="6" y="6"/>
                      <a:pt x="0" y="9"/>
                      <a:pt x="0" y="9"/>
                    </a:cubicBezTo>
                    <a:cubicBezTo>
                      <a:pt x="0" y="9"/>
                      <a:pt x="2" y="9"/>
                      <a:pt x="2" y="12"/>
                    </a:cubicBezTo>
                    <a:cubicBezTo>
                      <a:pt x="2" y="14"/>
                      <a:pt x="2" y="18"/>
                      <a:pt x="4" y="18"/>
                    </a:cubicBezTo>
                    <a:cubicBezTo>
                      <a:pt x="5" y="17"/>
                      <a:pt x="11" y="16"/>
                      <a:pt x="11" y="18"/>
                    </a:cubicBezTo>
                    <a:cubicBezTo>
                      <a:pt x="11" y="20"/>
                      <a:pt x="11" y="22"/>
                      <a:pt x="13" y="22"/>
                    </a:cubicBezTo>
                    <a:cubicBezTo>
                      <a:pt x="15" y="23"/>
                      <a:pt x="19" y="22"/>
                      <a:pt x="19" y="23"/>
                    </a:cubicBezTo>
                    <a:cubicBezTo>
                      <a:pt x="20" y="24"/>
                      <a:pt x="19" y="28"/>
                      <a:pt x="20" y="27"/>
                    </a:cubicBezTo>
                    <a:cubicBezTo>
                      <a:pt x="22" y="27"/>
                      <a:pt x="26" y="27"/>
                      <a:pt x="27" y="28"/>
                    </a:cubicBezTo>
                    <a:cubicBezTo>
                      <a:pt x="28" y="29"/>
                      <a:pt x="28" y="30"/>
                      <a:pt x="28" y="32"/>
                    </a:cubicBezTo>
                    <a:cubicBezTo>
                      <a:pt x="29" y="33"/>
                      <a:pt x="28" y="35"/>
                      <a:pt x="29" y="36"/>
                    </a:cubicBezTo>
                    <a:cubicBezTo>
                      <a:pt x="31" y="36"/>
                      <a:pt x="35" y="36"/>
                      <a:pt x="36" y="35"/>
                    </a:cubicBezTo>
                    <a:cubicBezTo>
                      <a:pt x="37" y="34"/>
                      <a:pt x="39" y="30"/>
                      <a:pt x="39" y="32"/>
                    </a:cubicBezTo>
                    <a:cubicBezTo>
                      <a:pt x="40" y="34"/>
                      <a:pt x="38" y="38"/>
                      <a:pt x="41" y="39"/>
                    </a:cubicBezTo>
                    <a:cubicBezTo>
                      <a:pt x="44" y="39"/>
                      <a:pt x="45" y="41"/>
                      <a:pt x="47" y="42"/>
                    </a:cubicBezTo>
                    <a:cubicBezTo>
                      <a:pt x="50" y="43"/>
                      <a:pt x="50" y="47"/>
                      <a:pt x="52" y="47"/>
                    </a:cubicBezTo>
                    <a:cubicBezTo>
                      <a:pt x="54" y="46"/>
                      <a:pt x="56" y="47"/>
                      <a:pt x="58" y="47"/>
                    </a:cubicBezTo>
                    <a:cubicBezTo>
                      <a:pt x="58" y="47"/>
                      <a:pt x="59" y="45"/>
                      <a:pt x="59" y="43"/>
                    </a:cubicBezTo>
                    <a:cubicBezTo>
                      <a:pt x="58" y="43"/>
                      <a:pt x="58" y="42"/>
                      <a:pt x="58" y="42"/>
                    </a:cubicBezTo>
                    <a:cubicBezTo>
                      <a:pt x="56" y="40"/>
                      <a:pt x="56" y="37"/>
                      <a:pt x="57" y="35"/>
                    </a:cubicBezTo>
                    <a:cubicBezTo>
                      <a:pt x="58" y="33"/>
                      <a:pt x="60" y="30"/>
                      <a:pt x="61" y="30"/>
                    </a:cubicBezTo>
                    <a:cubicBezTo>
                      <a:pt x="61" y="31"/>
                      <a:pt x="62" y="31"/>
                      <a:pt x="62" y="32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63" y="33"/>
                      <a:pt x="63" y="33"/>
                      <a:pt x="63" y="33"/>
                    </a:cubicBezTo>
                    <a:cubicBezTo>
                      <a:pt x="65" y="34"/>
                      <a:pt x="69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16" name="Gruppieren 301">
                <a:extLst>
                  <a:ext uri="{FF2B5EF4-FFF2-40B4-BE49-F238E27FC236}">
                    <a16:creationId xmlns:a16="http://schemas.microsoft.com/office/drawing/2014/main" id="{E1BFCD8D-DDD7-5FAC-A91B-A8E661D93BC5}"/>
                  </a:ext>
                </a:extLst>
              </p:cNvPr>
              <p:cNvGrpSpPr/>
              <p:nvPr/>
            </p:nvGrpSpPr>
            <p:grpSpPr bwMode="gray">
              <a:xfrm>
                <a:off x="2406192" y="4520442"/>
                <a:ext cx="1041313" cy="1008965"/>
                <a:chOff x="2339976" y="4583113"/>
                <a:chExt cx="1073150" cy="1039813"/>
              </a:xfrm>
              <a:grpFill/>
            </p:grpSpPr>
            <p:sp>
              <p:nvSpPr>
                <p:cNvPr id="574" name="Freeform 113">
                  <a:extLst>
                    <a:ext uri="{FF2B5EF4-FFF2-40B4-BE49-F238E27FC236}">
                      <a16:creationId xmlns:a16="http://schemas.microsoft.com/office/drawing/2014/main" id="{2BB04624-41DB-7069-205D-9F24191AD34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33751" y="5434013"/>
                  <a:ext cx="79375" cy="188913"/>
                </a:xfrm>
                <a:custGeom>
                  <a:avLst/>
                  <a:gdLst>
                    <a:gd name="T0" fmla="*/ 17 w 19"/>
                    <a:gd name="T1" fmla="*/ 12 h 45"/>
                    <a:gd name="T2" fmla="*/ 17 w 19"/>
                    <a:gd name="T3" fmla="*/ 8 h 45"/>
                    <a:gd name="T4" fmla="*/ 17 w 19"/>
                    <a:gd name="T5" fmla="*/ 2 h 45"/>
                    <a:gd name="T6" fmla="*/ 14 w 19"/>
                    <a:gd name="T7" fmla="*/ 3 h 45"/>
                    <a:gd name="T8" fmla="*/ 13 w 19"/>
                    <a:gd name="T9" fmla="*/ 9 h 45"/>
                    <a:gd name="T10" fmla="*/ 10 w 19"/>
                    <a:gd name="T11" fmla="*/ 10 h 45"/>
                    <a:gd name="T12" fmla="*/ 6 w 19"/>
                    <a:gd name="T13" fmla="*/ 11 h 45"/>
                    <a:gd name="T14" fmla="*/ 2 w 19"/>
                    <a:gd name="T15" fmla="*/ 14 h 45"/>
                    <a:gd name="T16" fmla="*/ 1 w 19"/>
                    <a:gd name="T17" fmla="*/ 17 h 45"/>
                    <a:gd name="T18" fmla="*/ 2 w 19"/>
                    <a:gd name="T19" fmla="*/ 19 h 45"/>
                    <a:gd name="T20" fmla="*/ 1 w 19"/>
                    <a:gd name="T21" fmla="*/ 22 h 45"/>
                    <a:gd name="T22" fmla="*/ 2 w 19"/>
                    <a:gd name="T23" fmla="*/ 25 h 45"/>
                    <a:gd name="T24" fmla="*/ 3 w 19"/>
                    <a:gd name="T25" fmla="*/ 27 h 45"/>
                    <a:gd name="T26" fmla="*/ 2 w 19"/>
                    <a:gd name="T27" fmla="*/ 30 h 45"/>
                    <a:gd name="T28" fmla="*/ 5 w 19"/>
                    <a:gd name="T29" fmla="*/ 31 h 45"/>
                    <a:gd name="T30" fmla="*/ 3 w 19"/>
                    <a:gd name="T31" fmla="*/ 34 h 45"/>
                    <a:gd name="T32" fmla="*/ 5 w 19"/>
                    <a:gd name="T33" fmla="*/ 36 h 45"/>
                    <a:gd name="T34" fmla="*/ 6 w 19"/>
                    <a:gd name="T35" fmla="*/ 38 h 45"/>
                    <a:gd name="T36" fmla="*/ 6 w 19"/>
                    <a:gd name="T37" fmla="*/ 41 h 45"/>
                    <a:gd name="T38" fmla="*/ 10 w 19"/>
                    <a:gd name="T39" fmla="*/ 42 h 45"/>
                    <a:gd name="T40" fmla="*/ 12 w 19"/>
                    <a:gd name="T41" fmla="*/ 44 h 45"/>
                    <a:gd name="T42" fmla="*/ 15 w 19"/>
                    <a:gd name="T43" fmla="*/ 38 h 45"/>
                    <a:gd name="T44" fmla="*/ 16 w 19"/>
                    <a:gd name="T45" fmla="*/ 30 h 45"/>
                    <a:gd name="T46" fmla="*/ 19 w 19"/>
                    <a:gd name="T47" fmla="*/ 25 h 45"/>
                    <a:gd name="T48" fmla="*/ 17 w 19"/>
                    <a:gd name="T49" fmla="*/ 12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" h="45">
                      <a:moveTo>
                        <a:pt x="17" y="12"/>
                      </a:moveTo>
                      <a:cubicBezTo>
                        <a:pt x="17" y="11"/>
                        <a:pt x="17" y="10"/>
                        <a:pt x="17" y="8"/>
                      </a:cubicBezTo>
                      <a:cubicBezTo>
                        <a:pt x="18" y="6"/>
                        <a:pt x="18" y="3"/>
                        <a:pt x="17" y="2"/>
                      </a:cubicBezTo>
                      <a:cubicBezTo>
                        <a:pt x="15" y="0"/>
                        <a:pt x="14" y="1"/>
                        <a:pt x="14" y="3"/>
                      </a:cubicBezTo>
                      <a:cubicBezTo>
                        <a:pt x="14" y="6"/>
                        <a:pt x="15" y="8"/>
                        <a:pt x="13" y="9"/>
                      </a:cubicBezTo>
                      <a:cubicBezTo>
                        <a:pt x="12" y="9"/>
                        <a:pt x="12" y="9"/>
                        <a:pt x="10" y="10"/>
                      </a:cubicBezTo>
                      <a:cubicBezTo>
                        <a:pt x="9" y="11"/>
                        <a:pt x="7" y="11"/>
                        <a:pt x="6" y="11"/>
                      </a:cubicBezTo>
                      <a:cubicBezTo>
                        <a:pt x="5" y="10"/>
                        <a:pt x="3" y="12"/>
                        <a:pt x="2" y="14"/>
                      </a:cubicBezTo>
                      <a:cubicBezTo>
                        <a:pt x="2" y="16"/>
                        <a:pt x="2" y="16"/>
                        <a:pt x="1" y="17"/>
                      </a:cubicBezTo>
                      <a:cubicBezTo>
                        <a:pt x="1" y="18"/>
                        <a:pt x="2" y="18"/>
                        <a:pt x="2" y="19"/>
                      </a:cubicBezTo>
                      <a:cubicBezTo>
                        <a:pt x="2" y="20"/>
                        <a:pt x="1" y="22"/>
                        <a:pt x="1" y="22"/>
                      </a:cubicBezTo>
                      <a:cubicBezTo>
                        <a:pt x="0" y="23"/>
                        <a:pt x="1" y="25"/>
                        <a:pt x="2" y="25"/>
                      </a:cubicBezTo>
                      <a:cubicBezTo>
                        <a:pt x="3" y="25"/>
                        <a:pt x="4" y="26"/>
                        <a:pt x="3" y="27"/>
                      </a:cubicBezTo>
                      <a:cubicBezTo>
                        <a:pt x="2" y="28"/>
                        <a:pt x="1" y="29"/>
                        <a:pt x="2" y="30"/>
                      </a:cubicBezTo>
                      <a:cubicBezTo>
                        <a:pt x="3" y="31"/>
                        <a:pt x="5" y="30"/>
                        <a:pt x="5" y="31"/>
                      </a:cubicBezTo>
                      <a:cubicBezTo>
                        <a:pt x="4" y="32"/>
                        <a:pt x="3" y="33"/>
                        <a:pt x="3" y="34"/>
                      </a:cubicBezTo>
                      <a:cubicBezTo>
                        <a:pt x="3" y="35"/>
                        <a:pt x="4" y="35"/>
                        <a:pt x="5" y="36"/>
                      </a:cubicBezTo>
                      <a:cubicBezTo>
                        <a:pt x="6" y="36"/>
                        <a:pt x="7" y="36"/>
                        <a:pt x="6" y="38"/>
                      </a:cubicBezTo>
                      <a:cubicBezTo>
                        <a:pt x="5" y="39"/>
                        <a:pt x="5" y="40"/>
                        <a:pt x="6" y="41"/>
                      </a:cubicBezTo>
                      <a:cubicBezTo>
                        <a:pt x="7" y="41"/>
                        <a:pt x="8" y="41"/>
                        <a:pt x="10" y="42"/>
                      </a:cubicBezTo>
                      <a:cubicBezTo>
                        <a:pt x="11" y="43"/>
                        <a:pt x="10" y="45"/>
                        <a:pt x="12" y="44"/>
                      </a:cubicBezTo>
                      <a:cubicBezTo>
                        <a:pt x="13" y="44"/>
                        <a:pt x="14" y="40"/>
                        <a:pt x="15" y="38"/>
                      </a:cubicBezTo>
                      <a:cubicBezTo>
                        <a:pt x="16" y="36"/>
                        <a:pt x="16" y="33"/>
                        <a:pt x="16" y="30"/>
                      </a:cubicBezTo>
                      <a:cubicBezTo>
                        <a:pt x="16" y="27"/>
                        <a:pt x="19" y="26"/>
                        <a:pt x="19" y="25"/>
                      </a:cubicBezTo>
                      <a:cubicBezTo>
                        <a:pt x="19" y="23"/>
                        <a:pt x="19" y="15"/>
                        <a:pt x="17" y="1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5" name="Freeform 181">
                  <a:extLst>
                    <a:ext uri="{FF2B5EF4-FFF2-40B4-BE49-F238E27FC236}">
                      <a16:creationId xmlns:a16="http://schemas.microsoft.com/office/drawing/2014/main" id="{C01A7A8E-A8C3-FC94-AAA9-4E9971EA3C6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2339976" y="4583113"/>
                  <a:ext cx="981075" cy="930275"/>
                </a:xfrm>
                <a:custGeom>
                  <a:avLst/>
                  <a:gdLst>
                    <a:gd name="T0" fmla="*/ 205 w 235"/>
                    <a:gd name="T1" fmla="*/ 153 h 223"/>
                    <a:gd name="T2" fmla="*/ 209 w 235"/>
                    <a:gd name="T3" fmla="*/ 129 h 223"/>
                    <a:gd name="T4" fmla="*/ 199 w 235"/>
                    <a:gd name="T5" fmla="*/ 116 h 223"/>
                    <a:gd name="T6" fmla="*/ 201 w 235"/>
                    <a:gd name="T7" fmla="*/ 105 h 223"/>
                    <a:gd name="T8" fmla="*/ 217 w 235"/>
                    <a:gd name="T9" fmla="*/ 89 h 223"/>
                    <a:gd name="T10" fmla="*/ 225 w 235"/>
                    <a:gd name="T11" fmla="*/ 83 h 223"/>
                    <a:gd name="T12" fmla="*/ 227 w 235"/>
                    <a:gd name="T13" fmla="*/ 77 h 223"/>
                    <a:gd name="T14" fmla="*/ 231 w 235"/>
                    <a:gd name="T15" fmla="*/ 72 h 223"/>
                    <a:gd name="T16" fmla="*/ 233 w 235"/>
                    <a:gd name="T17" fmla="*/ 69 h 223"/>
                    <a:gd name="T18" fmla="*/ 233 w 235"/>
                    <a:gd name="T19" fmla="*/ 65 h 223"/>
                    <a:gd name="T20" fmla="*/ 229 w 235"/>
                    <a:gd name="T21" fmla="*/ 63 h 223"/>
                    <a:gd name="T22" fmla="*/ 224 w 235"/>
                    <a:gd name="T23" fmla="*/ 63 h 223"/>
                    <a:gd name="T24" fmla="*/ 221 w 235"/>
                    <a:gd name="T25" fmla="*/ 60 h 223"/>
                    <a:gd name="T26" fmla="*/ 218 w 235"/>
                    <a:gd name="T27" fmla="*/ 61 h 223"/>
                    <a:gd name="T28" fmla="*/ 216 w 235"/>
                    <a:gd name="T29" fmla="*/ 60 h 223"/>
                    <a:gd name="T30" fmla="*/ 214 w 235"/>
                    <a:gd name="T31" fmla="*/ 58 h 223"/>
                    <a:gd name="T32" fmla="*/ 211 w 235"/>
                    <a:gd name="T33" fmla="*/ 59 h 223"/>
                    <a:gd name="T34" fmla="*/ 208 w 235"/>
                    <a:gd name="T35" fmla="*/ 53 h 223"/>
                    <a:gd name="T36" fmla="*/ 206 w 235"/>
                    <a:gd name="T37" fmla="*/ 51 h 223"/>
                    <a:gd name="T38" fmla="*/ 206 w 235"/>
                    <a:gd name="T39" fmla="*/ 48 h 223"/>
                    <a:gd name="T40" fmla="*/ 207 w 235"/>
                    <a:gd name="T41" fmla="*/ 45 h 223"/>
                    <a:gd name="T42" fmla="*/ 195 w 235"/>
                    <a:gd name="T43" fmla="*/ 42 h 223"/>
                    <a:gd name="T44" fmla="*/ 175 w 235"/>
                    <a:gd name="T45" fmla="*/ 29 h 223"/>
                    <a:gd name="T46" fmla="*/ 161 w 235"/>
                    <a:gd name="T47" fmla="*/ 19 h 223"/>
                    <a:gd name="T48" fmla="*/ 138 w 235"/>
                    <a:gd name="T49" fmla="*/ 9 h 223"/>
                    <a:gd name="T50" fmla="*/ 117 w 235"/>
                    <a:gd name="T51" fmla="*/ 12 h 223"/>
                    <a:gd name="T52" fmla="*/ 101 w 235"/>
                    <a:gd name="T53" fmla="*/ 29 h 223"/>
                    <a:gd name="T54" fmla="*/ 94 w 235"/>
                    <a:gd name="T55" fmla="*/ 40 h 223"/>
                    <a:gd name="T56" fmla="*/ 66 w 235"/>
                    <a:gd name="T57" fmla="*/ 39 h 223"/>
                    <a:gd name="T58" fmla="*/ 54 w 235"/>
                    <a:gd name="T59" fmla="*/ 36 h 223"/>
                    <a:gd name="T60" fmla="*/ 62 w 235"/>
                    <a:gd name="T61" fmla="*/ 59 h 223"/>
                    <a:gd name="T62" fmla="*/ 50 w 235"/>
                    <a:gd name="T63" fmla="*/ 60 h 223"/>
                    <a:gd name="T64" fmla="*/ 32 w 235"/>
                    <a:gd name="T65" fmla="*/ 57 h 223"/>
                    <a:gd name="T66" fmla="*/ 17 w 235"/>
                    <a:gd name="T67" fmla="*/ 58 h 223"/>
                    <a:gd name="T68" fmla="*/ 1 w 235"/>
                    <a:gd name="T69" fmla="*/ 67 h 223"/>
                    <a:gd name="T70" fmla="*/ 4 w 235"/>
                    <a:gd name="T71" fmla="*/ 69 h 223"/>
                    <a:gd name="T72" fmla="*/ 3 w 235"/>
                    <a:gd name="T73" fmla="*/ 75 h 223"/>
                    <a:gd name="T74" fmla="*/ 16 w 235"/>
                    <a:gd name="T75" fmla="*/ 79 h 223"/>
                    <a:gd name="T76" fmla="*/ 27 w 235"/>
                    <a:gd name="T77" fmla="*/ 84 h 223"/>
                    <a:gd name="T78" fmla="*/ 32 w 235"/>
                    <a:gd name="T79" fmla="*/ 85 h 223"/>
                    <a:gd name="T80" fmla="*/ 37 w 235"/>
                    <a:gd name="T81" fmla="*/ 88 h 223"/>
                    <a:gd name="T82" fmla="*/ 46 w 235"/>
                    <a:gd name="T83" fmla="*/ 94 h 223"/>
                    <a:gd name="T84" fmla="*/ 46 w 235"/>
                    <a:gd name="T85" fmla="*/ 98 h 223"/>
                    <a:gd name="T86" fmla="*/ 50 w 235"/>
                    <a:gd name="T87" fmla="*/ 109 h 223"/>
                    <a:gd name="T88" fmla="*/ 63 w 235"/>
                    <a:gd name="T89" fmla="*/ 127 h 223"/>
                    <a:gd name="T90" fmla="*/ 61 w 235"/>
                    <a:gd name="T91" fmla="*/ 130 h 223"/>
                    <a:gd name="T92" fmla="*/ 70 w 235"/>
                    <a:gd name="T93" fmla="*/ 150 h 223"/>
                    <a:gd name="T94" fmla="*/ 61 w 235"/>
                    <a:gd name="T95" fmla="*/ 159 h 223"/>
                    <a:gd name="T96" fmla="*/ 52 w 235"/>
                    <a:gd name="T97" fmla="*/ 197 h 223"/>
                    <a:gd name="T98" fmla="*/ 67 w 235"/>
                    <a:gd name="T99" fmla="*/ 208 h 223"/>
                    <a:gd name="T100" fmla="*/ 90 w 235"/>
                    <a:gd name="T101" fmla="*/ 213 h 223"/>
                    <a:gd name="T102" fmla="*/ 112 w 235"/>
                    <a:gd name="T103" fmla="*/ 216 h 223"/>
                    <a:gd name="T104" fmla="*/ 138 w 235"/>
                    <a:gd name="T105" fmla="*/ 220 h 223"/>
                    <a:gd name="T106" fmla="*/ 143 w 235"/>
                    <a:gd name="T107" fmla="*/ 198 h 223"/>
                    <a:gd name="T108" fmla="*/ 159 w 235"/>
                    <a:gd name="T109" fmla="*/ 192 h 223"/>
                    <a:gd name="T110" fmla="*/ 167 w 235"/>
                    <a:gd name="T111" fmla="*/ 190 h 223"/>
                    <a:gd name="T112" fmla="*/ 175 w 235"/>
                    <a:gd name="T113" fmla="*/ 193 h 223"/>
                    <a:gd name="T114" fmla="*/ 186 w 235"/>
                    <a:gd name="T115" fmla="*/ 201 h 223"/>
                    <a:gd name="T116" fmla="*/ 199 w 235"/>
                    <a:gd name="T117" fmla="*/ 202 h 223"/>
                    <a:gd name="T118" fmla="*/ 211 w 235"/>
                    <a:gd name="T119" fmla="*/ 190 h 223"/>
                    <a:gd name="T120" fmla="*/ 222 w 235"/>
                    <a:gd name="T121" fmla="*/ 174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35" h="223">
                      <a:moveTo>
                        <a:pt x="217" y="174"/>
                      </a:moveTo>
                      <a:cubicBezTo>
                        <a:pt x="214" y="174"/>
                        <a:pt x="212" y="173"/>
                        <a:pt x="210" y="170"/>
                      </a:cubicBezTo>
                      <a:cubicBezTo>
                        <a:pt x="208" y="168"/>
                        <a:pt x="207" y="165"/>
                        <a:pt x="208" y="163"/>
                      </a:cubicBezTo>
                      <a:cubicBezTo>
                        <a:pt x="210" y="162"/>
                        <a:pt x="212" y="159"/>
                        <a:pt x="210" y="157"/>
                      </a:cubicBezTo>
                      <a:cubicBezTo>
                        <a:pt x="209" y="156"/>
                        <a:pt x="207" y="155"/>
                        <a:pt x="205" y="153"/>
                      </a:cubicBezTo>
                      <a:cubicBezTo>
                        <a:pt x="204" y="150"/>
                        <a:pt x="204" y="149"/>
                        <a:pt x="206" y="148"/>
                      </a:cubicBezTo>
                      <a:cubicBezTo>
                        <a:pt x="208" y="148"/>
                        <a:pt x="211" y="147"/>
                        <a:pt x="212" y="145"/>
                      </a:cubicBezTo>
                      <a:cubicBezTo>
                        <a:pt x="213" y="143"/>
                        <a:pt x="213" y="143"/>
                        <a:pt x="212" y="140"/>
                      </a:cubicBezTo>
                      <a:cubicBezTo>
                        <a:pt x="212" y="138"/>
                        <a:pt x="211" y="137"/>
                        <a:pt x="209" y="134"/>
                      </a:cubicBezTo>
                      <a:cubicBezTo>
                        <a:pt x="207" y="132"/>
                        <a:pt x="208" y="131"/>
                        <a:pt x="209" y="129"/>
                      </a:cubicBezTo>
                      <a:cubicBezTo>
                        <a:pt x="210" y="129"/>
                        <a:pt x="211" y="128"/>
                        <a:pt x="211" y="128"/>
                      </a:cubicBezTo>
                      <a:cubicBezTo>
                        <a:pt x="211" y="127"/>
                        <a:pt x="209" y="124"/>
                        <a:pt x="208" y="122"/>
                      </a:cubicBezTo>
                      <a:cubicBezTo>
                        <a:pt x="206" y="120"/>
                        <a:pt x="207" y="118"/>
                        <a:pt x="207" y="116"/>
                      </a:cubicBezTo>
                      <a:cubicBezTo>
                        <a:pt x="207" y="113"/>
                        <a:pt x="207" y="113"/>
                        <a:pt x="204" y="113"/>
                      </a:cubicBezTo>
                      <a:cubicBezTo>
                        <a:pt x="201" y="114"/>
                        <a:pt x="201" y="114"/>
                        <a:pt x="199" y="116"/>
                      </a:cubicBezTo>
                      <a:cubicBezTo>
                        <a:pt x="197" y="117"/>
                        <a:pt x="197" y="120"/>
                        <a:pt x="195" y="121"/>
                      </a:cubicBezTo>
                      <a:cubicBezTo>
                        <a:pt x="194" y="122"/>
                        <a:pt x="192" y="122"/>
                        <a:pt x="194" y="120"/>
                      </a:cubicBezTo>
                      <a:cubicBezTo>
                        <a:pt x="195" y="117"/>
                        <a:pt x="195" y="118"/>
                        <a:pt x="194" y="116"/>
                      </a:cubicBezTo>
                      <a:cubicBezTo>
                        <a:pt x="194" y="114"/>
                        <a:pt x="194" y="112"/>
                        <a:pt x="195" y="111"/>
                      </a:cubicBezTo>
                      <a:cubicBezTo>
                        <a:pt x="196" y="109"/>
                        <a:pt x="200" y="107"/>
                        <a:pt x="201" y="105"/>
                      </a:cubicBezTo>
                      <a:cubicBezTo>
                        <a:pt x="202" y="102"/>
                        <a:pt x="202" y="103"/>
                        <a:pt x="203" y="101"/>
                      </a:cubicBezTo>
                      <a:cubicBezTo>
                        <a:pt x="205" y="99"/>
                        <a:pt x="208" y="97"/>
                        <a:pt x="209" y="95"/>
                      </a:cubicBezTo>
                      <a:cubicBezTo>
                        <a:pt x="210" y="93"/>
                        <a:pt x="211" y="91"/>
                        <a:pt x="211" y="89"/>
                      </a:cubicBezTo>
                      <a:cubicBezTo>
                        <a:pt x="211" y="87"/>
                        <a:pt x="211" y="87"/>
                        <a:pt x="214" y="88"/>
                      </a:cubicBezTo>
                      <a:cubicBezTo>
                        <a:pt x="216" y="89"/>
                        <a:pt x="216" y="89"/>
                        <a:pt x="217" y="89"/>
                      </a:cubicBezTo>
                      <a:cubicBezTo>
                        <a:pt x="218" y="90"/>
                        <a:pt x="221" y="88"/>
                        <a:pt x="222" y="87"/>
                      </a:cubicBezTo>
                      <a:cubicBezTo>
                        <a:pt x="222" y="87"/>
                        <a:pt x="223" y="86"/>
                        <a:pt x="224" y="86"/>
                      </a:cubicBezTo>
                      <a:cubicBezTo>
                        <a:pt x="224" y="85"/>
                        <a:pt x="224" y="85"/>
                        <a:pt x="224" y="85"/>
                      </a:cubicBezTo>
                      <a:cubicBezTo>
                        <a:pt x="225" y="85"/>
                        <a:pt x="225" y="84"/>
                        <a:pt x="225" y="84"/>
                      </a:cubicBezTo>
                      <a:cubicBezTo>
                        <a:pt x="225" y="84"/>
                        <a:pt x="225" y="84"/>
                        <a:pt x="225" y="83"/>
                      </a:cubicBezTo>
                      <a:cubicBezTo>
                        <a:pt x="225" y="83"/>
                        <a:pt x="225" y="82"/>
                        <a:pt x="225" y="82"/>
                      </a:cubicBezTo>
                      <a:cubicBezTo>
                        <a:pt x="225" y="81"/>
                        <a:pt x="226" y="81"/>
                        <a:pt x="226" y="81"/>
                      </a:cubicBezTo>
                      <a:cubicBezTo>
                        <a:pt x="226" y="80"/>
                        <a:pt x="226" y="80"/>
                        <a:pt x="226" y="80"/>
                      </a:cubicBezTo>
                      <a:cubicBezTo>
                        <a:pt x="226" y="79"/>
                        <a:pt x="227" y="79"/>
                        <a:pt x="227" y="79"/>
                      </a:cubicBezTo>
                      <a:cubicBezTo>
                        <a:pt x="227" y="78"/>
                        <a:pt x="227" y="78"/>
                        <a:pt x="227" y="77"/>
                      </a:cubicBezTo>
                      <a:cubicBezTo>
                        <a:pt x="227" y="76"/>
                        <a:pt x="228" y="76"/>
                        <a:pt x="228" y="76"/>
                      </a:cubicBezTo>
                      <a:cubicBezTo>
                        <a:pt x="228" y="75"/>
                        <a:pt x="228" y="75"/>
                        <a:pt x="228" y="74"/>
                      </a:cubicBezTo>
                      <a:cubicBezTo>
                        <a:pt x="229" y="74"/>
                        <a:pt x="229" y="74"/>
                        <a:pt x="230" y="73"/>
                      </a:cubicBezTo>
                      <a:cubicBezTo>
                        <a:pt x="230" y="73"/>
                        <a:pt x="230" y="73"/>
                        <a:pt x="230" y="72"/>
                      </a:cubicBezTo>
                      <a:cubicBezTo>
                        <a:pt x="231" y="72"/>
                        <a:pt x="231" y="72"/>
                        <a:pt x="231" y="72"/>
                      </a:cubicBezTo>
                      <a:cubicBezTo>
                        <a:pt x="231" y="72"/>
                        <a:pt x="232" y="72"/>
                        <a:pt x="232" y="72"/>
                      </a:cubicBezTo>
                      <a:cubicBezTo>
                        <a:pt x="232" y="72"/>
                        <a:pt x="232" y="72"/>
                        <a:pt x="233" y="71"/>
                      </a:cubicBezTo>
                      <a:cubicBezTo>
                        <a:pt x="233" y="71"/>
                        <a:pt x="233" y="71"/>
                        <a:pt x="233" y="71"/>
                      </a:cubicBezTo>
                      <a:cubicBezTo>
                        <a:pt x="233" y="71"/>
                        <a:pt x="233" y="71"/>
                        <a:pt x="233" y="70"/>
                      </a:cubicBezTo>
                      <a:cubicBezTo>
                        <a:pt x="233" y="70"/>
                        <a:pt x="233" y="70"/>
                        <a:pt x="233" y="69"/>
                      </a:cubicBezTo>
                      <a:cubicBezTo>
                        <a:pt x="233" y="69"/>
                        <a:pt x="233" y="69"/>
                        <a:pt x="233" y="68"/>
                      </a:cubicBezTo>
                      <a:cubicBezTo>
                        <a:pt x="234" y="68"/>
                        <a:pt x="234" y="68"/>
                        <a:pt x="234" y="67"/>
                      </a:cubicBezTo>
                      <a:cubicBezTo>
                        <a:pt x="234" y="67"/>
                        <a:pt x="234" y="67"/>
                        <a:pt x="235" y="66"/>
                      </a:cubicBezTo>
                      <a:cubicBezTo>
                        <a:pt x="234" y="66"/>
                        <a:pt x="234" y="66"/>
                        <a:pt x="234" y="66"/>
                      </a:cubicBezTo>
                      <a:cubicBezTo>
                        <a:pt x="234" y="66"/>
                        <a:pt x="234" y="65"/>
                        <a:pt x="233" y="65"/>
                      </a:cubicBezTo>
                      <a:cubicBezTo>
                        <a:pt x="233" y="65"/>
                        <a:pt x="233" y="65"/>
                        <a:pt x="233" y="65"/>
                      </a:cubicBezTo>
                      <a:cubicBezTo>
                        <a:pt x="232" y="64"/>
                        <a:pt x="232" y="64"/>
                        <a:pt x="232" y="64"/>
                      </a:cubicBezTo>
                      <a:cubicBezTo>
                        <a:pt x="232" y="64"/>
                        <a:pt x="231" y="64"/>
                        <a:pt x="231" y="64"/>
                      </a:cubicBezTo>
                      <a:cubicBezTo>
                        <a:pt x="231" y="64"/>
                        <a:pt x="231" y="64"/>
                        <a:pt x="230" y="63"/>
                      </a:cubicBezTo>
                      <a:cubicBezTo>
                        <a:pt x="230" y="63"/>
                        <a:pt x="230" y="63"/>
                        <a:pt x="229" y="63"/>
                      </a:cubicBezTo>
                      <a:cubicBezTo>
                        <a:pt x="229" y="63"/>
                        <a:pt x="229" y="63"/>
                        <a:pt x="229" y="63"/>
                      </a:cubicBezTo>
                      <a:cubicBezTo>
                        <a:pt x="228" y="63"/>
                        <a:pt x="228" y="63"/>
                        <a:pt x="228" y="63"/>
                      </a:cubicBezTo>
                      <a:cubicBezTo>
                        <a:pt x="227" y="63"/>
                        <a:pt x="227" y="63"/>
                        <a:pt x="227" y="63"/>
                      </a:cubicBezTo>
                      <a:cubicBezTo>
                        <a:pt x="227" y="64"/>
                        <a:pt x="226" y="63"/>
                        <a:pt x="226" y="64"/>
                      </a:cubicBezTo>
                      <a:cubicBezTo>
                        <a:pt x="225" y="63"/>
                        <a:pt x="225" y="63"/>
                        <a:pt x="224" y="63"/>
                      </a:cubicBezTo>
                      <a:cubicBezTo>
                        <a:pt x="224" y="63"/>
                        <a:pt x="224" y="63"/>
                        <a:pt x="223" y="63"/>
                      </a:cubicBezTo>
                      <a:cubicBezTo>
                        <a:pt x="223" y="62"/>
                        <a:pt x="223" y="62"/>
                        <a:pt x="223" y="62"/>
                      </a:cubicBezTo>
                      <a:cubicBezTo>
                        <a:pt x="222" y="62"/>
                        <a:pt x="222" y="61"/>
                        <a:pt x="222" y="61"/>
                      </a:cubicBezTo>
                      <a:cubicBezTo>
                        <a:pt x="222" y="61"/>
                        <a:pt x="222" y="60"/>
                        <a:pt x="222" y="60"/>
                      </a:cubicBezTo>
                      <a:cubicBezTo>
                        <a:pt x="222" y="60"/>
                        <a:pt x="222" y="60"/>
                        <a:pt x="221" y="60"/>
                      </a:cubicBezTo>
                      <a:cubicBezTo>
                        <a:pt x="221" y="59"/>
                        <a:pt x="221" y="59"/>
                        <a:pt x="220" y="59"/>
                      </a:cubicBezTo>
                      <a:cubicBezTo>
                        <a:pt x="220" y="60"/>
                        <a:pt x="220" y="60"/>
                        <a:pt x="220" y="60"/>
                      </a:cubicBezTo>
                      <a:cubicBezTo>
                        <a:pt x="220" y="60"/>
                        <a:pt x="220" y="60"/>
                        <a:pt x="220" y="60"/>
                      </a:cubicBezTo>
                      <a:cubicBezTo>
                        <a:pt x="220" y="61"/>
                        <a:pt x="219" y="61"/>
                        <a:pt x="219" y="61"/>
                      </a:cubicBezTo>
                      <a:cubicBezTo>
                        <a:pt x="219" y="61"/>
                        <a:pt x="219" y="61"/>
                        <a:pt x="218" y="61"/>
                      </a:cubicBezTo>
                      <a:cubicBezTo>
                        <a:pt x="218" y="61"/>
                        <a:pt x="218" y="61"/>
                        <a:pt x="217" y="60"/>
                      </a:cubicBezTo>
                      <a:cubicBezTo>
                        <a:pt x="217" y="60"/>
                        <a:pt x="217" y="60"/>
                        <a:pt x="217" y="60"/>
                      </a:cubicBezTo>
                      <a:cubicBezTo>
                        <a:pt x="217" y="60"/>
                        <a:pt x="217" y="60"/>
                        <a:pt x="216" y="60"/>
                      </a:cubicBezTo>
                      <a:cubicBezTo>
                        <a:pt x="216" y="60"/>
                        <a:pt x="216" y="60"/>
                        <a:pt x="216" y="60"/>
                      </a:cubicBezTo>
                      <a:cubicBezTo>
                        <a:pt x="216" y="60"/>
                        <a:pt x="216" y="60"/>
                        <a:pt x="216" y="60"/>
                      </a:cubicBezTo>
                      <a:cubicBezTo>
                        <a:pt x="215" y="60"/>
                        <a:pt x="215" y="60"/>
                        <a:pt x="215" y="60"/>
                      </a:cubicBezTo>
                      <a:cubicBezTo>
                        <a:pt x="215" y="60"/>
                        <a:pt x="215" y="60"/>
                        <a:pt x="215" y="60"/>
                      </a:cubicBezTo>
                      <a:cubicBezTo>
                        <a:pt x="215" y="59"/>
                        <a:pt x="214" y="59"/>
                        <a:pt x="214" y="59"/>
                      </a:cubicBezTo>
                      <a:cubicBezTo>
                        <a:pt x="214" y="59"/>
                        <a:pt x="214" y="59"/>
                        <a:pt x="214" y="58"/>
                      </a:cubicBezTo>
                      <a:cubicBezTo>
                        <a:pt x="214" y="58"/>
                        <a:pt x="214" y="58"/>
                        <a:pt x="214" y="58"/>
                      </a:cubicBezTo>
                      <a:cubicBezTo>
                        <a:pt x="213" y="58"/>
                        <a:pt x="213" y="58"/>
                        <a:pt x="213" y="58"/>
                      </a:cubicBezTo>
                      <a:cubicBezTo>
                        <a:pt x="213" y="58"/>
                        <a:pt x="213" y="58"/>
                        <a:pt x="213" y="59"/>
                      </a:cubicBezTo>
                      <a:cubicBezTo>
                        <a:pt x="212" y="59"/>
                        <a:pt x="212" y="59"/>
                        <a:pt x="212" y="59"/>
                      </a:cubicBezTo>
                      <a:cubicBezTo>
                        <a:pt x="212" y="59"/>
                        <a:pt x="212" y="59"/>
                        <a:pt x="211" y="59"/>
                      </a:cubicBezTo>
                      <a:cubicBezTo>
                        <a:pt x="211" y="59"/>
                        <a:pt x="211" y="59"/>
                        <a:pt x="211" y="59"/>
                      </a:cubicBezTo>
                      <a:cubicBezTo>
                        <a:pt x="210" y="58"/>
                        <a:pt x="210" y="58"/>
                        <a:pt x="210" y="57"/>
                      </a:cubicBezTo>
                      <a:cubicBezTo>
                        <a:pt x="210" y="57"/>
                        <a:pt x="210" y="57"/>
                        <a:pt x="210" y="56"/>
                      </a:cubicBezTo>
                      <a:cubicBezTo>
                        <a:pt x="209" y="56"/>
                        <a:pt x="209" y="56"/>
                        <a:pt x="209" y="55"/>
                      </a:cubicBezTo>
                      <a:cubicBezTo>
                        <a:pt x="208" y="55"/>
                        <a:pt x="208" y="54"/>
                        <a:pt x="208" y="54"/>
                      </a:cubicBezTo>
                      <a:cubicBezTo>
                        <a:pt x="208" y="54"/>
                        <a:pt x="208" y="53"/>
                        <a:pt x="208" y="53"/>
                      </a:cubicBezTo>
                      <a:cubicBezTo>
                        <a:pt x="208" y="53"/>
                        <a:pt x="208" y="52"/>
                        <a:pt x="208" y="52"/>
                      </a:cubicBezTo>
                      <a:cubicBezTo>
                        <a:pt x="208" y="52"/>
                        <a:pt x="208" y="52"/>
                        <a:pt x="208" y="52"/>
                      </a:cubicBezTo>
                      <a:cubicBezTo>
                        <a:pt x="208" y="51"/>
                        <a:pt x="208" y="51"/>
                        <a:pt x="207" y="51"/>
                      </a:cubicBezTo>
                      <a:cubicBezTo>
                        <a:pt x="207" y="51"/>
                        <a:pt x="207" y="51"/>
                        <a:pt x="207" y="51"/>
                      </a:cubicBezTo>
                      <a:cubicBezTo>
                        <a:pt x="206" y="51"/>
                        <a:pt x="206" y="51"/>
                        <a:pt x="206" y="51"/>
                      </a:cubicBezTo>
                      <a:cubicBezTo>
                        <a:pt x="205" y="51"/>
                        <a:pt x="205" y="51"/>
                        <a:pt x="205" y="50"/>
                      </a:cubicBezTo>
                      <a:cubicBezTo>
                        <a:pt x="205" y="50"/>
                        <a:pt x="205" y="50"/>
                        <a:pt x="205" y="50"/>
                      </a:cubicBezTo>
                      <a:cubicBezTo>
                        <a:pt x="205" y="49"/>
                        <a:pt x="205" y="49"/>
                        <a:pt x="205" y="49"/>
                      </a:cubicBezTo>
                      <a:cubicBezTo>
                        <a:pt x="205" y="49"/>
                        <a:pt x="205" y="49"/>
                        <a:pt x="205" y="48"/>
                      </a:cubicBezTo>
                      <a:cubicBezTo>
                        <a:pt x="206" y="48"/>
                        <a:pt x="206" y="48"/>
                        <a:pt x="206" y="48"/>
                      </a:cubicBezTo>
                      <a:cubicBezTo>
                        <a:pt x="206" y="48"/>
                        <a:pt x="206" y="48"/>
                        <a:pt x="206" y="48"/>
                      </a:cubicBezTo>
                      <a:cubicBezTo>
                        <a:pt x="206" y="48"/>
                        <a:pt x="206" y="47"/>
                        <a:pt x="206" y="47"/>
                      </a:cubicBezTo>
                      <a:cubicBezTo>
                        <a:pt x="206" y="47"/>
                        <a:pt x="206" y="47"/>
                        <a:pt x="206" y="46"/>
                      </a:cubicBezTo>
                      <a:cubicBezTo>
                        <a:pt x="206" y="46"/>
                        <a:pt x="206" y="46"/>
                        <a:pt x="206" y="46"/>
                      </a:cubicBezTo>
                      <a:cubicBezTo>
                        <a:pt x="207" y="45"/>
                        <a:pt x="207" y="45"/>
                        <a:pt x="207" y="45"/>
                      </a:cubicBezTo>
                      <a:cubicBezTo>
                        <a:pt x="207" y="44"/>
                        <a:pt x="207" y="44"/>
                        <a:pt x="207" y="44"/>
                      </a:cubicBezTo>
                      <a:cubicBezTo>
                        <a:pt x="207" y="43"/>
                        <a:pt x="207" y="43"/>
                        <a:pt x="207" y="42"/>
                      </a:cubicBezTo>
                      <a:cubicBezTo>
                        <a:pt x="207" y="42"/>
                        <a:pt x="207" y="42"/>
                        <a:pt x="207" y="42"/>
                      </a:cubicBezTo>
                      <a:cubicBezTo>
                        <a:pt x="207" y="42"/>
                        <a:pt x="207" y="42"/>
                        <a:pt x="207" y="42"/>
                      </a:cubicBezTo>
                      <a:cubicBezTo>
                        <a:pt x="206" y="42"/>
                        <a:pt x="199" y="46"/>
                        <a:pt x="195" y="42"/>
                      </a:cubicBezTo>
                      <a:cubicBezTo>
                        <a:pt x="194" y="41"/>
                        <a:pt x="193" y="38"/>
                        <a:pt x="192" y="38"/>
                      </a:cubicBezTo>
                      <a:cubicBezTo>
                        <a:pt x="192" y="38"/>
                        <a:pt x="192" y="38"/>
                        <a:pt x="192" y="38"/>
                      </a:cubicBezTo>
                      <a:cubicBezTo>
                        <a:pt x="190" y="38"/>
                        <a:pt x="188" y="37"/>
                        <a:pt x="186" y="38"/>
                      </a:cubicBezTo>
                      <a:cubicBezTo>
                        <a:pt x="184" y="38"/>
                        <a:pt x="184" y="34"/>
                        <a:pt x="181" y="33"/>
                      </a:cubicBezTo>
                      <a:cubicBezTo>
                        <a:pt x="179" y="32"/>
                        <a:pt x="178" y="30"/>
                        <a:pt x="175" y="29"/>
                      </a:cubicBezTo>
                      <a:cubicBezTo>
                        <a:pt x="172" y="29"/>
                        <a:pt x="174" y="25"/>
                        <a:pt x="173" y="23"/>
                      </a:cubicBezTo>
                      <a:cubicBezTo>
                        <a:pt x="173" y="21"/>
                        <a:pt x="171" y="25"/>
                        <a:pt x="170" y="26"/>
                      </a:cubicBezTo>
                      <a:cubicBezTo>
                        <a:pt x="169" y="27"/>
                        <a:pt x="165" y="27"/>
                        <a:pt x="163" y="27"/>
                      </a:cubicBezTo>
                      <a:cubicBezTo>
                        <a:pt x="162" y="26"/>
                        <a:pt x="163" y="24"/>
                        <a:pt x="162" y="23"/>
                      </a:cubicBezTo>
                      <a:cubicBezTo>
                        <a:pt x="162" y="21"/>
                        <a:pt x="162" y="20"/>
                        <a:pt x="161" y="19"/>
                      </a:cubicBezTo>
                      <a:cubicBezTo>
                        <a:pt x="160" y="18"/>
                        <a:pt x="156" y="18"/>
                        <a:pt x="154" y="18"/>
                      </a:cubicBezTo>
                      <a:cubicBezTo>
                        <a:pt x="153" y="19"/>
                        <a:pt x="154" y="15"/>
                        <a:pt x="153" y="14"/>
                      </a:cubicBezTo>
                      <a:cubicBezTo>
                        <a:pt x="153" y="13"/>
                        <a:pt x="149" y="14"/>
                        <a:pt x="147" y="13"/>
                      </a:cubicBezTo>
                      <a:cubicBezTo>
                        <a:pt x="145" y="13"/>
                        <a:pt x="145" y="11"/>
                        <a:pt x="145" y="9"/>
                      </a:cubicBezTo>
                      <a:cubicBezTo>
                        <a:pt x="145" y="7"/>
                        <a:pt x="139" y="8"/>
                        <a:pt x="138" y="9"/>
                      </a:cubicBezTo>
                      <a:cubicBezTo>
                        <a:pt x="136" y="9"/>
                        <a:pt x="136" y="6"/>
                        <a:pt x="136" y="3"/>
                      </a:cubicBezTo>
                      <a:cubicBezTo>
                        <a:pt x="136" y="0"/>
                        <a:pt x="134" y="0"/>
                        <a:pt x="134" y="0"/>
                      </a:cubicBezTo>
                      <a:cubicBezTo>
                        <a:pt x="134" y="0"/>
                        <a:pt x="130" y="1"/>
                        <a:pt x="127" y="2"/>
                      </a:cubicBezTo>
                      <a:cubicBezTo>
                        <a:pt x="124" y="2"/>
                        <a:pt x="120" y="3"/>
                        <a:pt x="118" y="4"/>
                      </a:cubicBezTo>
                      <a:cubicBezTo>
                        <a:pt x="117" y="6"/>
                        <a:pt x="117" y="9"/>
                        <a:pt x="117" y="12"/>
                      </a:cubicBezTo>
                      <a:cubicBezTo>
                        <a:pt x="117" y="15"/>
                        <a:pt x="118" y="16"/>
                        <a:pt x="116" y="17"/>
                      </a:cubicBezTo>
                      <a:cubicBezTo>
                        <a:pt x="115" y="18"/>
                        <a:pt x="116" y="20"/>
                        <a:pt x="116" y="21"/>
                      </a:cubicBezTo>
                      <a:cubicBezTo>
                        <a:pt x="117" y="22"/>
                        <a:pt x="117" y="22"/>
                        <a:pt x="115" y="23"/>
                      </a:cubicBezTo>
                      <a:cubicBezTo>
                        <a:pt x="113" y="23"/>
                        <a:pt x="111" y="26"/>
                        <a:pt x="108" y="27"/>
                      </a:cubicBezTo>
                      <a:cubicBezTo>
                        <a:pt x="106" y="28"/>
                        <a:pt x="102" y="29"/>
                        <a:pt x="101" y="29"/>
                      </a:cubicBezTo>
                      <a:cubicBezTo>
                        <a:pt x="99" y="29"/>
                        <a:pt x="96" y="30"/>
                        <a:pt x="94" y="32"/>
                      </a:cubicBezTo>
                      <a:cubicBezTo>
                        <a:pt x="91" y="33"/>
                        <a:pt x="91" y="34"/>
                        <a:pt x="90" y="36"/>
                      </a:cubicBezTo>
                      <a:cubicBezTo>
                        <a:pt x="89" y="38"/>
                        <a:pt x="90" y="40"/>
                        <a:pt x="91" y="40"/>
                      </a:cubicBezTo>
                      <a:cubicBezTo>
                        <a:pt x="93" y="40"/>
                        <a:pt x="95" y="39"/>
                        <a:pt x="96" y="38"/>
                      </a:cubicBezTo>
                      <a:cubicBezTo>
                        <a:pt x="97" y="38"/>
                        <a:pt x="96" y="40"/>
                        <a:pt x="94" y="40"/>
                      </a:cubicBezTo>
                      <a:cubicBezTo>
                        <a:pt x="92" y="41"/>
                        <a:pt x="90" y="42"/>
                        <a:pt x="88" y="42"/>
                      </a:cubicBezTo>
                      <a:cubicBezTo>
                        <a:pt x="86" y="43"/>
                        <a:pt x="83" y="44"/>
                        <a:pt x="81" y="43"/>
                      </a:cubicBezTo>
                      <a:cubicBezTo>
                        <a:pt x="79" y="42"/>
                        <a:pt x="76" y="42"/>
                        <a:pt x="74" y="41"/>
                      </a:cubicBezTo>
                      <a:cubicBezTo>
                        <a:pt x="72" y="41"/>
                        <a:pt x="69" y="42"/>
                        <a:pt x="68" y="42"/>
                      </a:cubicBezTo>
                      <a:cubicBezTo>
                        <a:pt x="67" y="43"/>
                        <a:pt x="67" y="41"/>
                        <a:pt x="66" y="39"/>
                      </a:cubicBezTo>
                      <a:cubicBezTo>
                        <a:pt x="66" y="38"/>
                        <a:pt x="65" y="37"/>
                        <a:pt x="65" y="36"/>
                      </a:cubicBezTo>
                      <a:cubicBezTo>
                        <a:pt x="66" y="35"/>
                        <a:pt x="66" y="34"/>
                        <a:pt x="64" y="34"/>
                      </a:cubicBezTo>
                      <a:cubicBezTo>
                        <a:pt x="63" y="33"/>
                        <a:pt x="62" y="35"/>
                        <a:pt x="60" y="35"/>
                      </a:cubicBezTo>
                      <a:cubicBezTo>
                        <a:pt x="59" y="35"/>
                        <a:pt x="56" y="33"/>
                        <a:pt x="54" y="33"/>
                      </a:cubicBezTo>
                      <a:cubicBezTo>
                        <a:pt x="53" y="33"/>
                        <a:pt x="54" y="34"/>
                        <a:pt x="54" y="36"/>
                      </a:cubicBezTo>
                      <a:cubicBezTo>
                        <a:pt x="55" y="38"/>
                        <a:pt x="55" y="38"/>
                        <a:pt x="55" y="41"/>
                      </a:cubicBezTo>
                      <a:cubicBezTo>
                        <a:pt x="56" y="44"/>
                        <a:pt x="57" y="43"/>
                        <a:pt x="59" y="44"/>
                      </a:cubicBezTo>
                      <a:cubicBezTo>
                        <a:pt x="61" y="46"/>
                        <a:pt x="59" y="46"/>
                        <a:pt x="59" y="48"/>
                      </a:cubicBezTo>
                      <a:cubicBezTo>
                        <a:pt x="58" y="50"/>
                        <a:pt x="59" y="54"/>
                        <a:pt x="59" y="56"/>
                      </a:cubicBezTo>
                      <a:cubicBezTo>
                        <a:pt x="58" y="58"/>
                        <a:pt x="61" y="58"/>
                        <a:pt x="62" y="59"/>
                      </a:cubicBezTo>
                      <a:cubicBezTo>
                        <a:pt x="63" y="60"/>
                        <a:pt x="60" y="60"/>
                        <a:pt x="57" y="60"/>
                      </a:cubicBezTo>
                      <a:cubicBezTo>
                        <a:pt x="55" y="60"/>
                        <a:pt x="55" y="61"/>
                        <a:pt x="54" y="59"/>
                      </a:cubicBezTo>
                      <a:cubicBezTo>
                        <a:pt x="54" y="58"/>
                        <a:pt x="53" y="57"/>
                        <a:pt x="52" y="59"/>
                      </a:cubicBezTo>
                      <a:cubicBezTo>
                        <a:pt x="51" y="60"/>
                        <a:pt x="52" y="62"/>
                        <a:pt x="52" y="62"/>
                      </a:cubicBezTo>
                      <a:cubicBezTo>
                        <a:pt x="51" y="62"/>
                        <a:pt x="51" y="61"/>
                        <a:pt x="50" y="60"/>
                      </a:cubicBezTo>
                      <a:cubicBezTo>
                        <a:pt x="50" y="59"/>
                        <a:pt x="49" y="60"/>
                        <a:pt x="47" y="60"/>
                      </a:cubicBezTo>
                      <a:cubicBezTo>
                        <a:pt x="46" y="60"/>
                        <a:pt x="46" y="58"/>
                        <a:pt x="45" y="59"/>
                      </a:cubicBezTo>
                      <a:cubicBezTo>
                        <a:pt x="43" y="60"/>
                        <a:pt x="42" y="60"/>
                        <a:pt x="40" y="61"/>
                      </a:cubicBezTo>
                      <a:cubicBezTo>
                        <a:pt x="38" y="62"/>
                        <a:pt x="37" y="62"/>
                        <a:pt x="36" y="60"/>
                      </a:cubicBezTo>
                      <a:cubicBezTo>
                        <a:pt x="35" y="57"/>
                        <a:pt x="34" y="57"/>
                        <a:pt x="32" y="57"/>
                      </a:cubicBezTo>
                      <a:cubicBezTo>
                        <a:pt x="31" y="57"/>
                        <a:pt x="32" y="55"/>
                        <a:pt x="31" y="54"/>
                      </a:cubicBezTo>
                      <a:cubicBezTo>
                        <a:pt x="31" y="53"/>
                        <a:pt x="28" y="54"/>
                        <a:pt x="26" y="55"/>
                      </a:cubicBezTo>
                      <a:cubicBezTo>
                        <a:pt x="24" y="55"/>
                        <a:pt x="23" y="56"/>
                        <a:pt x="23" y="57"/>
                      </a:cubicBezTo>
                      <a:cubicBezTo>
                        <a:pt x="23" y="59"/>
                        <a:pt x="21" y="58"/>
                        <a:pt x="20" y="58"/>
                      </a:cubicBezTo>
                      <a:cubicBezTo>
                        <a:pt x="18" y="58"/>
                        <a:pt x="18" y="58"/>
                        <a:pt x="17" y="58"/>
                      </a:cubicBezTo>
                      <a:cubicBezTo>
                        <a:pt x="15" y="59"/>
                        <a:pt x="15" y="57"/>
                        <a:pt x="14" y="58"/>
                      </a:cubicBezTo>
                      <a:cubicBezTo>
                        <a:pt x="13" y="58"/>
                        <a:pt x="11" y="60"/>
                        <a:pt x="10" y="59"/>
                      </a:cubicBezTo>
                      <a:cubicBezTo>
                        <a:pt x="9" y="59"/>
                        <a:pt x="9" y="58"/>
                        <a:pt x="8" y="59"/>
                      </a:cubicBezTo>
                      <a:cubicBezTo>
                        <a:pt x="6" y="60"/>
                        <a:pt x="2" y="61"/>
                        <a:pt x="1" y="62"/>
                      </a:cubicBezTo>
                      <a:cubicBezTo>
                        <a:pt x="1" y="63"/>
                        <a:pt x="0" y="65"/>
                        <a:pt x="1" y="67"/>
                      </a:cubicBezTo>
                      <a:cubicBezTo>
                        <a:pt x="1" y="68"/>
                        <a:pt x="5" y="66"/>
                        <a:pt x="6" y="65"/>
                      </a:cubicBezTo>
                      <a:cubicBezTo>
                        <a:pt x="7" y="65"/>
                        <a:pt x="7" y="65"/>
                        <a:pt x="8" y="66"/>
                      </a:cubicBezTo>
                      <a:cubicBezTo>
                        <a:pt x="8" y="68"/>
                        <a:pt x="9" y="67"/>
                        <a:pt x="10" y="67"/>
                      </a:cubicBezTo>
                      <a:cubicBezTo>
                        <a:pt x="11" y="67"/>
                        <a:pt x="9" y="68"/>
                        <a:pt x="8" y="68"/>
                      </a:cubicBezTo>
                      <a:cubicBezTo>
                        <a:pt x="7" y="68"/>
                        <a:pt x="5" y="68"/>
                        <a:pt x="4" y="69"/>
                      </a:cubicBezTo>
                      <a:cubicBezTo>
                        <a:pt x="3" y="69"/>
                        <a:pt x="4" y="71"/>
                        <a:pt x="5" y="71"/>
                      </a:cubicBezTo>
                      <a:cubicBezTo>
                        <a:pt x="6" y="70"/>
                        <a:pt x="8" y="70"/>
                        <a:pt x="9" y="70"/>
                      </a:cubicBezTo>
                      <a:cubicBezTo>
                        <a:pt x="10" y="71"/>
                        <a:pt x="8" y="73"/>
                        <a:pt x="7" y="73"/>
                      </a:cubicBezTo>
                      <a:cubicBezTo>
                        <a:pt x="5" y="73"/>
                        <a:pt x="4" y="72"/>
                        <a:pt x="2" y="73"/>
                      </a:cubicBezTo>
                      <a:cubicBezTo>
                        <a:pt x="0" y="74"/>
                        <a:pt x="2" y="75"/>
                        <a:pt x="3" y="75"/>
                      </a:cubicBezTo>
                      <a:cubicBezTo>
                        <a:pt x="4" y="76"/>
                        <a:pt x="7" y="77"/>
                        <a:pt x="7" y="77"/>
                      </a:cubicBezTo>
                      <a:cubicBezTo>
                        <a:pt x="7" y="78"/>
                        <a:pt x="8" y="81"/>
                        <a:pt x="9" y="81"/>
                      </a:cubicBezTo>
                      <a:cubicBezTo>
                        <a:pt x="10" y="80"/>
                        <a:pt x="10" y="79"/>
                        <a:pt x="11" y="79"/>
                      </a:cubicBezTo>
                      <a:cubicBezTo>
                        <a:pt x="13" y="79"/>
                        <a:pt x="13" y="78"/>
                        <a:pt x="14" y="78"/>
                      </a:cubicBezTo>
                      <a:cubicBezTo>
                        <a:pt x="15" y="77"/>
                        <a:pt x="15" y="77"/>
                        <a:pt x="16" y="79"/>
                      </a:cubicBezTo>
                      <a:cubicBezTo>
                        <a:pt x="16" y="81"/>
                        <a:pt x="17" y="81"/>
                        <a:pt x="18" y="81"/>
                      </a:cubicBezTo>
                      <a:cubicBezTo>
                        <a:pt x="20" y="81"/>
                        <a:pt x="21" y="81"/>
                        <a:pt x="22" y="81"/>
                      </a:cubicBezTo>
                      <a:cubicBezTo>
                        <a:pt x="23" y="82"/>
                        <a:pt x="24" y="83"/>
                        <a:pt x="25" y="82"/>
                      </a:cubicBezTo>
                      <a:cubicBezTo>
                        <a:pt x="26" y="82"/>
                        <a:pt x="26" y="80"/>
                        <a:pt x="27" y="81"/>
                      </a:cubicBezTo>
                      <a:cubicBezTo>
                        <a:pt x="27" y="82"/>
                        <a:pt x="26" y="83"/>
                        <a:pt x="27" y="84"/>
                      </a:cubicBezTo>
                      <a:cubicBezTo>
                        <a:pt x="27" y="85"/>
                        <a:pt x="28" y="82"/>
                        <a:pt x="29" y="82"/>
                      </a:cubicBezTo>
                      <a:cubicBezTo>
                        <a:pt x="30" y="81"/>
                        <a:pt x="28" y="83"/>
                        <a:pt x="28" y="84"/>
                      </a:cubicBezTo>
                      <a:cubicBezTo>
                        <a:pt x="28" y="85"/>
                        <a:pt x="29" y="86"/>
                        <a:pt x="29" y="88"/>
                      </a:cubicBezTo>
                      <a:cubicBezTo>
                        <a:pt x="29" y="89"/>
                        <a:pt x="30" y="88"/>
                        <a:pt x="30" y="87"/>
                      </a:cubicBezTo>
                      <a:cubicBezTo>
                        <a:pt x="30" y="85"/>
                        <a:pt x="31" y="84"/>
                        <a:pt x="32" y="85"/>
                      </a:cubicBezTo>
                      <a:cubicBezTo>
                        <a:pt x="33" y="86"/>
                        <a:pt x="34" y="87"/>
                        <a:pt x="33" y="86"/>
                      </a:cubicBezTo>
                      <a:cubicBezTo>
                        <a:pt x="33" y="85"/>
                        <a:pt x="34" y="85"/>
                        <a:pt x="35" y="85"/>
                      </a:cubicBezTo>
                      <a:cubicBezTo>
                        <a:pt x="36" y="85"/>
                        <a:pt x="38" y="85"/>
                        <a:pt x="37" y="86"/>
                      </a:cubicBezTo>
                      <a:cubicBezTo>
                        <a:pt x="35" y="86"/>
                        <a:pt x="34" y="88"/>
                        <a:pt x="34" y="88"/>
                      </a:cubicBezTo>
                      <a:cubicBezTo>
                        <a:pt x="34" y="88"/>
                        <a:pt x="36" y="88"/>
                        <a:pt x="37" y="88"/>
                      </a:cubicBezTo>
                      <a:cubicBezTo>
                        <a:pt x="38" y="87"/>
                        <a:pt x="41" y="87"/>
                        <a:pt x="41" y="87"/>
                      </a:cubicBezTo>
                      <a:cubicBezTo>
                        <a:pt x="42" y="88"/>
                        <a:pt x="42" y="88"/>
                        <a:pt x="41" y="89"/>
                      </a:cubicBezTo>
                      <a:cubicBezTo>
                        <a:pt x="40" y="90"/>
                        <a:pt x="39" y="92"/>
                        <a:pt x="40" y="93"/>
                      </a:cubicBezTo>
                      <a:cubicBezTo>
                        <a:pt x="41" y="94"/>
                        <a:pt x="42" y="93"/>
                        <a:pt x="42" y="94"/>
                      </a:cubicBezTo>
                      <a:cubicBezTo>
                        <a:pt x="43" y="95"/>
                        <a:pt x="44" y="95"/>
                        <a:pt x="46" y="94"/>
                      </a:cubicBezTo>
                      <a:cubicBezTo>
                        <a:pt x="47" y="92"/>
                        <a:pt x="50" y="93"/>
                        <a:pt x="52" y="94"/>
                      </a:cubicBezTo>
                      <a:cubicBezTo>
                        <a:pt x="54" y="95"/>
                        <a:pt x="54" y="96"/>
                        <a:pt x="53" y="95"/>
                      </a:cubicBezTo>
                      <a:cubicBezTo>
                        <a:pt x="51" y="95"/>
                        <a:pt x="50" y="94"/>
                        <a:pt x="48" y="94"/>
                      </a:cubicBezTo>
                      <a:cubicBezTo>
                        <a:pt x="47" y="93"/>
                        <a:pt x="46" y="94"/>
                        <a:pt x="46" y="95"/>
                      </a:cubicBezTo>
                      <a:cubicBezTo>
                        <a:pt x="45" y="97"/>
                        <a:pt x="44" y="98"/>
                        <a:pt x="46" y="98"/>
                      </a:cubicBezTo>
                      <a:cubicBezTo>
                        <a:pt x="47" y="97"/>
                        <a:pt x="48" y="99"/>
                        <a:pt x="48" y="99"/>
                      </a:cubicBezTo>
                      <a:cubicBezTo>
                        <a:pt x="49" y="100"/>
                        <a:pt x="48" y="101"/>
                        <a:pt x="48" y="102"/>
                      </a:cubicBezTo>
                      <a:cubicBezTo>
                        <a:pt x="47" y="103"/>
                        <a:pt x="46" y="101"/>
                        <a:pt x="45" y="101"/>
                      </a:cubicBezTo>
                      <a:cubicBezTo>
                        <a:pt x="44" y="101"/>
                        <a:pt x="45" y="103"/>
                        <a:pt x="46" y="104"/>
                      </a:cubicBezTo>
                      <a:cubicBezTo>
                        <a:pt x="46" y="105"/>
                        <a:pt x="49" y="108"/>
                        <a:pt x="50" y="109"/>
                      </a:cubicBezTo>
                      <a:cubicBezTo>
                        <a:pt x="52" y="111"/>
                        <a:pt x="51" y="113"/>
                        <a:pt x="53" y="114"/>
                      </a:cubicBezTo>
                      <a:cubicBezTo>
                        <a:pt x="56" y="115"/>
                        <a:pt x="57" y="116"/>
                        <a:pt x="59" y="117"/>
                      </a:cubicBezTo>
                      <a:cubicBezTo>
                        <a:pt x="62" y="119"/>
                        <a:pt x="62" y="118"/>
                        <a:pt x="63" y="118"/>
                      </a:cubicBezTo>
                      <a:cubicBezTo>
                        <a:pt x="64" y="117"/>
                        <a:pt x="63" y="119"/>
                        <a:pt x="63" y="121"/>
                      </a:cubicBezTo>
                      <a:cubicBezTo>
                        <a:pt x="62" y="123"/>
                        <a:pt x="64" y="125"/>
                        <a:pt x="63" y="127"/>
                      </a:cubicBezTo>
                      <a:cubicBezTo>
                        <a:pt x="63" y="130"/>
                        <a:pt x="64" y="132"/>
                        <a:pt x="65" y="133"/>
                      </a:cubicBezTo>
                      <a:cubicBezTo>
                        <a:pt x="65" y="134"/>
                        <a:pt x="65" y="133"/>
                        <a:pt x="64" y="132"/>
                      </a:cubicBezTo>
                      <a:cubicBezTo>
                        <a:pt x="62" y="131"/>
                        <a:pt x="63" y="130"/>
                        <a:pt x="62" y="128"/>
                      </a:cubicBezTo>
                      <a:cubicBezTo>
                        <a:pt x="62" y="126"/>
                        <a:pt x="60" y="125"/>
                        <a:pt x="59" y="126"/>
                      </a:cubicBezTo>
                      <a:cubicBezTo>
                        <a:pt x="58" y="127"/>
                        <a:pt x="60" y="129"/>
                        <a:pt x="61" y="130"/>
                      </a:cubicBezTo>
                      <a:cubicBezTo>
                        <a:pt x="62" y="132"/>
                        <a:pt x="60" y="132"/>
                        <a:pt x="60" y="134"/>
                      </a:cubicBezTo>
                      <a:cubicBezTo>
                        <a:pt x="61" y="136"/>
                        <a:pt x="67" y="138"/>
                        <a:pt x="68" y="139"/>
                      </a:cubicBezTo>
                      <a:cubicBezTo>
                        <a:pt x="70" y="141"/>
                        <a:pt x="70" y="145"/>
                        <a:pt x="70" y="147"/>
                      </a:cubicBezTo>
                      <a:cubicBezTo>
                        <a:pt x="70" y="149"/>
                        <a:pt x="73" y="152"/>
                        <a:pt x="72" y="153"/>
                      </a:cubicBezTo>
                      <a:cubicBezTo>
                        <a:pt x="72" y="154"/>
                        <a:pt x="71" y="151"/>
                        <a:pt x="70" y="150"/>
                      </a:cubicBezTo>
                      <a:cubicBezTo>
                        <a:pt x="69" y="149"/>
                        <a:pt x="69" y="145"/>
                        <a:pt x="68" y="143"/>
                      </a:cubicBezTo>
                      <a:cubicBezTo>
                        <a:pt x="68" y="141"/>
                        <a:pt x="64" y="139"/>
                        <a:pt x="63" y="138"/>
                      </a:cubicBezTo>
                      <a:cubicBezTo>
                        <a:pt x="62" y="138"/>
                        <a:pt x="62" y="141"/>
                        <a:pt x="62" y="145"/>
                      </a:cubicBezTo>
                      <a:cubicBezTo>
                        <a:pt x="61" y="149"/>
                        <a:pt x="59" y="156"/>
                        <a:pt x="59" y="158"/>
                      </a:cubicBezTo>
                      <a:cubicBezTo>
                        <a:pt x="58" y="160"/>
                        <a:pt x="60" y="159"/>
                        <a:pt x="61" y="159"/>
                      </a:cubicBezTo>
                      <a:cubicBezTo>
                        <a:pt x="62" y="159"/>
                        <a:pt x="62" y="161"/>
                        <a:pt x="61" y="161"/>
                      </a:cubicBezTo>
                      <a:cubicBezTo>
                        <a:pt x="60" y="162"/>
                        <a:pt x="59" y="164"/>
                        <a:pt x="59" y="166"/>
                      </a:cubicBezTo>
                      <a:cubicBezTo>
                        <a:pt x="59" y="168"/>
                        <a:pt x="55" y="187"/>
                        <a:pt x="53" y="191"/>
                      </a:cubicBezTo>
                      <a:cubicBezTo>
                        <a:pt x="51" y="195"/>
                        <a:pt x="48" y="194"/>
                        <a:pt x="48" y="195"/>
                      </a:cubicBezTo>
                      <a:cubicBezTo>
                        <a:pt x="49" y="196"/>
                        <a:pt x="50" y="197"/>
                        <a:pt x="52" y="197"/>
                      </a:cubicBezTo>
                      <a:cubicBezTo>
                        <a:pt x="54" y="197"/>
                        <a:pt x="55" y="197"/>
                        <a:pt x="54" y="199"/>
                      </a:cubicBezTo>
                      <a:cubicBezTo>
                        <a:pt x="54" y="202"/>
                        <a:pt x="53" y="203"/>
                        <a:pt x="55" y="203"/>
                      </a:cubicBezTo>
                      <a:cubicBezTo>
                        <a:pt x="56" y="204"/>
                        <a:pt x="57" y="203"/>
                        <a:pt x="58" y="204"/>
                      </a:cubicBezTo>
                      <a:cubicBezTo>
                        <a:pt x="59" y="204"/>
                        <a:pt x="62" y="206"/>
                        <a:pt x="64" y="206"/>
                      </a:cubicBezTo>
                      <a:cubicBezTo>
                        <a:pt x="66" y="207"/>
                        <a:pt x="66" y="205"/>
                        <a:pt x="67" y="208"/>
                      </a:cubicBezTo>
                      <a:cubicBezTo>
                        <a:pt x="68" y="210"/>
                        <a:pt x="69" y="210"/>
                        <a:pt x="72" y="210"/>
                      </a:cubicBezTo>
                      <a:cubicBezTo>
                        <a:pt x="74" y="209"/>
                        <a:pt x="74" y="209"/>
                        <a:pt x="76" y="210"/>
                      </a:cubicBezTo>
                      <a:cubicBezTo>
                        <a:pt x="78" y="211"/>
                        <a:pt x="79" y="213"/>
                        <a:pt x="81" y="213"/>
                      </a:cubicBezTo>
                      <a:cubicBezTo>
                        <a:pt x="83" y="212"/>
                        <a:pt x="83" y="212"/>
                        <a:pt x="85" y="213"/>
                      </a:cubicBezTo>
                      <a:cubicBezTo>
                        <a:pt x="86" y="213"/>
                        <a:pt x="88" y="213"/>
                        <a:pt x="90" y="213"/>
                      </a:cubicBezTo>
                      <a:cubicBezTo>
                        <a:pt x="92" y="213"/>
                        <a:pt x="93" y="211"/>
                        <a:pt x="93" y="209"/>
                      </a:cubicBezTo>
                      <a:cubicBezTo>
                        <a:pt x="94" y="208"/>
                        <a:pt x="94" y="208"/>
                        <a:pt x="96" y="209"/>
                      </a:cubicBezTo>
                      <a:cubicBezTo>
                        <a:pt x="99" y="211"/>
                        <a:pt x="102" y="211"/>
                        <a:pt x="103" y="211"/>
                      </a:cubicBezTo>
                      <a:cubicBezTo>
                        <a:pt x="105" y="211"/>
                        <a:pt x="105" y="214"/>
                        <a:pt x="106" y="214"/>
                      </a:cubicBezTo>
                      <a:cubicBezTo>
                        <a:pt x="108" y="214"/>
                        <a:pt x="112" y="215"/>
                        <a:pt x="112" y="216"/>
                      </a:cubicBezTo>
                      <a:cubicBezTo>
                        <a:pt x="113" y="218"/>
                        <a:pt x="116" y="219"/>
                        <a:pt x="117" y="221"/>
                      </a:cubicBezTo>
                      <a:cubicBezTo>
                        <a:pt x="118" y="223"/>
                        <a:pt x="120" y="221"/>
                        <a:pt x="121" y="221"/>
                      </a:cubicBezTo>
                      <a:cubicBezTo>
                        <a:pt x="122" y="220"/>
                        <a:pt x="126" y="222"/>
                        <a:pt x="127" y="223"/>
                      </a:cubicBezTo>
                      <a:cubicBezTo>
                        <a:pt x="128" y="223"/>
                        <a:pt x="131" y="221"/>
                        <a:pt x="133" y="219"/>
                      </a:cubicBezTo>
                      <a:cubicBezTo>
                        <a:pt x="134" y="218"/>
                        <a:pt x="138" y="220"/>
                        <a:pt x="138" y="220"/>
                      </a:cubicBezTo>
                      <a:cubicBezTo>
                        <a:pt x="138" y="220"/>
                        <a:pt x="137" y="216"/>
                        <a:pt x="137" y="215"/>
                      </a:cubicBezTo>
                      <a:cubicBezTo>
                        <a:pt x="137" y="214"/>
                        <a:pt x="136" y="211"/>
                        <a:pt x="135" y="210"/>
                      </a:cubicBezTo>
                      <a:cubicBezTo>
                        <a:pt x="135" y="208"/>
                        <a:pt x="136" y="207"/>
                        <a:pt x="136" y="206"/>
                      </a:cubicBezTo>
                      <a:cubicBezTo>
                        <a:pt x="137" y="204"/>
                        <a:pt x="137" y="202"/>
                        <a:pt x="138" y="202"/>
                      </a:cubicBezTo>
                      <a:cubicBezTo>
                        <a:pt x="139" y="202"/>
                        <a:pt x="141" y="198"/>
                        <a:pt x="143" y="198"/>
                      </a:cubicBezTo>
                      <a:cubicBezTo>
                        <a:pt x="145" y="198"/>
                        <a:pt x="146" y="196"/>
                        <a:pt x="147" y="195"/>
                      </a:cubicBezTo>
                      <a:cubicBezTo>
                        <a:pt x="148" y="194"/>
                        <a:pt x="148" y="194"/>
                        <a:pt x="150" y="194"/>
                      </a:cubicBezTo>
                      <a:cubicBezTo>
                        <a:pt x="151" y="194"/>
                        <a:pt x="153" y="191"/>
                        <a:pt x="155" y="190"/>
                      </a:cubicBezTo>
                      <a:cubicBezTo>
                        <a:pt x="156" y="188"/>
                        <a:pt x="156" y="190"/>
                        <a:pt x="157" y="192"/>
                      </a:cubicBezTo>
                      <a:cubicBezTo>
                        <a:pt x="157" y="193"/>
                        <a:pt x="159" y="192"/>
                        <a:pt x="159" y="192"/>
                      </a:cubicBezTo>
                      <a:cubicBezTo>
                        <a:pt x="159" y="192"/>
                        <a:pt x="159" y="192"/>
                        <a:pt x="160" y="192"/>
                      </a:cubicBezTo>
                      <a:cubicBezTo>
                        <a:pt x="161" y="193"/>
                        <a:pt x="163" y="193"/>
                        <a:pt x="164" y="193"/>
                      </a:cubicBezTo>
                      <a:cubicBezTo>
                        <a:pt x="166" y="193"/>
                        <a:pt x="165" y="194"/>
                        <a:pt x="166" y="195"/>
                      </a:cubicBezTo>
                      <a:cubicBezTo>
                        <a:pt x="167" y="196"/>
                        <a:pt x="168" y="195"/>
                        <a:pt x="168" y="194"/>
                      </a:cubicBezTo>
                      <a:cubicBezTo>
                        <a:pt x="169" y="194"/>
                        <a:pt x="168" y="191"/>
                        <a:pt x="167" y="190"/>
                      </a:cubicBezTo>
                      <a:cubicBezTo>
                        <a:pt x="167" y="190"/>
                        <a:pt x="168" y="192"/>
                        <a:pt x="169" y="193"/>
                      </a:cubicBezTo>
                      <a:cubicBezTo>
                        <a:pt x="169" y="194"/>
                        <a:pt x="170" y="194"/>
                        <a:pt x="171" y="194"/>
                      </a:cubicBezTo>
                      <a:cubicBezTo>
                        <a:pt x="172" y="193"/>
                        <a:pt x="173" y="194"/>
                        <a:pt x="173" y="193"/>
                      </a:cubicBezTo>
                      <a:cubicBezTo>
                        <a:pt x="173" y="193"/>
                        <a:pt x="173" y="191"/>
                        <a:pt x="174" y="191"/>
                      </a:cubicBezTo>
                      <a:cubicBezTo>
                        <a:pt x="175" y="191"/>
                        <a:pt x="175" y="192"/>
                        <a:pt x="175" y="193"/>
                      </a:cubicBezTo>
                      <a:cubicBezTo>
                        <a:pt x="175" y="194"/>
                        <a:pt x="173" y="195"/>
                        <a:pt x="174" y="195"/>
                      </a:cubicBezTo>
                      <a:cubicBezTo>
                        <a:pt x="174" y="196"/>
                        <a:pt x="174" y="195"/>
                        <a:pt x="175" y="195"/>
                      </a:cubicBezTo>
                      <a:cubicBezTo>
                        <a:pt x="176" y="195"/>
                        <a:pt x="179" y="196"/>
                        <a:pt x="180" y="197"/>
                      </a:cubicBezTo>
                      <a:cubicBezTo>
                        <a:pt x="181" y="198"/>
                        <a:pt x="181" y="198"/>
                        <a:pt x="182" y="200"/>
                      </a:cubicBezTo>
                      <a:cubicBezTo>
                        <a:pt x="182" y="201"/>
                        <a:pt x="184" y="200"/>
                        <a:pt x="186" y="201"/>
                      </a:cubicBezTo>
                      <a:cubicBezTo>
                        <a:pt x="188" y="202"/>
                        <a:pt x="187" y="204"/>
                        <a:pt x="188" y="203"/>
                      </a:cubicBezTo>
                      <a:cubicBezTo>
                        <a:pt x="189" y="203"/>
                        <a:pt x="189" y="202"/>
                        <a:pt x="191" y="202"/>
                      </a:cubicBezTo>
                      <a:cubicBezTo>
                        <a:pt x="192" y="202"/>
                        <a:pt x="193" y="204"/>
                        <a:pt x="194" y="203"/>
                      </a:cubicBezTo>
                      <a:cubicBezTo>
                        <a:pt x="194" y="203"/>
                        <a:pt x="196" y="201"/>
                        <a:pt x="197" y="202"/>
                      </a:cubicBezTo>
                      <a:cubicBezTo>
                        <a:pt x="198" y="203"/>
                        <a:pt x="198" y="203"/>
                        <a:pt x="199" y="202"/>
                      </a:cubicBezTo>
                      <a:cubicBezTo>
                        <a:pt x="199" y="201"/>
                        <a:pt x="201" y="199"/>
                        <a:pt x="202" y="199"/>
                      </a:cubicBezTo>
                      <a:cubicBezTo>
                        <a:pt x="204" y="200"/>
                        <a:pt x="204" y="199"/>
                        <a:pt x="203" y="198"/>
                      </a:cubicBezTo>
                      <a:cubicBezTo>
                        <a:pt x="203" y="197"/>
                        <a:pt x="203" y="196"/>
                        <a:pt x="204" y="194"/>
                      </a:cubicBezTo>
                      <a:cubicBezTo>
                        <a:pt x="206" y="193"/>
                        <a:pt x="208" y="193"/>
                        <a:pt x="208" y="192"/>
                      </a:cubicBezTo>
                      <a:cubicBezTo>
                        <a:pt x="208" y="191"/>
                        <a:pt x="209" y="190"/>
                        <a:pt x="211" y="190"/>
                      </a:cubicBezTo>
                      <a:cubicBezTo>
                        <a:pt x="212" y="190"/>
                        <a:pt x="213" y="190"/>
                        <a:pt x="213" y="188"/>
                      </a:cubicBezTo>
                      <a:cubicBezTo>
                        <a:pt x="213" y="186"/>
                        <a:pt x="213" y="187"/>
                        <a:pt x="215" y="186"/>
                      </a:cubicBezTo>
                      <a:cubicBezTo>
                        <a:pt x="217" y="186"/>
                        <a:pt x="219" y="184"/>
                        <a:pt x="219" y="184"/>
                      </a:cubicBezTo>
                      <a:cubicBezTo>
                        <a:pt x="219" y="184"/>
                        <a:pt x="219" y="181"/>
                        <a:pt x="221" y="179"/>
                      </a:cubicBezTo>
                      <a:cubicBezTo>
                        <a:pt x="222" y="178"/>
                        <a:pt x="223" y="177"/>
                        <a:pt x="222" y="174"/>
                      </a:cubicBezTo>
                      <a:cubicBezTo>
                        <a:pt x="221" y="172"/>
                        <a:pt x="220" y="174"/>
                        <a:pt x="217" y="174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17" name="Freeform 182">
                <a:extLst>
                  <a:ext uri="{FF2B5EF4-FFF2-40B4-BE49-F238E27FC236}">
                    <a16:creationId xmlns:a16="http://schemas.microsoft.com/office/drawing/2014/main" id="{4126BA2F-CAFD-1AB1-D076-BD653D955A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4854" y="4605164"/>
                <a:ext cx="69319" cy="101667"/>
              </a:xfrm>
              <a:custGeom>
                <a:avLst/>
                <a:gdLst>
                  <a:gd name="T0" fmla="*/ 16 w 17"/>
                  <a:gd name="T1" fmla="*/ 20 h 25"/>
                  <a:gd name="T2" fmla="*/ 15 w 17"/>
                  <a:gd name="T3" fmla="*/ 20 h 25"/>
                  <a:gd name="T4" fmla="*/ 14 w 17"/>
                  <a:gd name="T5" fmla="*/ 19 h 25"/>
                  <a:gd name="T6" fmla="*/ 14 w 17"/>
                  <a:gd name="T7" fmla="*/ 18 h 25"/>
                  <a:gd name="T8" fmla="*/ 13 w 17"/>
                  <a:gd name="T9" fmla="*/ 17 h 25"/>
                  <a:gd name="T10" fmla="*/ 13 w 17"/>
                  <a:gd name="T11" fmla="*/ 17 h 25"/>
                  <a:gd name="T12" fmla="*/ 12 w 17"/>
                  <a:gd name="T13" fmla="*/ 16 h 25"/>
                  <a:gd name="T14" fmla="*/ 12 w 17"/>
                  <a:gd name="T15" fmla="*/ 15 h 25"/>
                  <a:gd name="T16" fmla="*/ 12 w 17"/>
                  <a:gd name="T17" fmla="*/ 14 h 25"/>
                  <a:gd name="T18" fmla="*/ 13 w 17"/>
                  <a:gd name="T19" fmla="*/ 13 h 25"/>
                  <a:gd name="T20" fmla="*/ 12 w 17"/>
                  <a:gd name="T21" fmla="*/ 12 h 25"/>
                  <a:gd name="T22" fmla="*/ 12 w 17"/>
                  <a:gd name="T23" fmla="*/ 12 h 25"/>
                  <a:gd name="T24" fmla="*/ 13 w 17"/>
                  <a:gd name="T25" fmla="*/ 11 h 25"/>
                  <a:gd name="T26" fmla="*/ 14 w 17"/>
                  <a:gd name="T27" fmla="*/ 10 h 25"/>
                  <a:gd name="T28" fmla="*/ 14 w 17"/>
                  <a:gd name="T29" fmla="*/ 9 h 25"/>
                  <a:gd name="T30" fmla="*/ 15 w 17"/>
                  <a:gd name="T31" fmla="*/ 8 h 25"/>
                  <a:gd name="T32" fmla="*/ 16 w 17"/>
                  <a:gd name="T33" fmla="*/ 7 h 25"/>
                  <a:gd name="T34" fmla="*/ 17 w 17"/>
                  <a:gd name="T35" fmla="*/ 7 h 25"/>
                  <a:gd name="T36" fmla="*/ 17 w 17"/>
                  <a:gd name="T37" fmla="*/ 7 h 25"/>
                  <a:gd name="T38" fmla="*/ 16 w 17"/>
                  <a:gd name="T39" fmla="*/ 5 h 25"/>
                  <a:gd name="T40" fmla="*/ 17 w 17"/>
                  <a:gd name="T41" fmla="*/ 5 h 25"/>
                  <a:gd name="T42" fmla="*/ 17 w 17"/>
                  <a:gd name="T43" fmla="*/ 4 h 25"/>
                  <a:gd name="T44" fmla="*/ 7 w 17"/>
                  <a:gd name="T45" fmla="*/ 3 h 25"/>
                  <a:gd name="T46" fmla="*/ 5 w 17"/>
                  <a:gd name="T47" fmla="*/ 0 h 25"/>
                  <a:gd name="T48" fmla="*/ 1 w 17"/>
                  <a:gd name="T49" fmla="*/ 5 h 25"/>
                  <a:gd name="T50" fmla="*/ 2 w 17"/>
                  <a:gd name="T51" fmla="*/ 12 h 25"/>
                  <a:gd name="T52" fmla="*/ 2 w 17"/>
                  <a:gd name="T53" fmla="*/ 17 h 25"/>
                  <a:gd name="T54" fmla="*/ 5 w 17"/>
                  <a:gd name="T55" fmla="*/ 21 h 25"/>
                  <a:gd name="T56" fmla="*/ 17 w 17"/>
                  <a:gd name="T57" fmla="*/ 21 h 25"/>
                  <a:gd name="T58" fmla="*/ 16 w 17"/>
                  <a:gd name="T59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7" h="25">
                    <a:moveTo>
                      <a:pt x="16" y="20"/>
                    </a:moveTo>
                    <a:cubicBezTo>
                      <a:pt x="16" y="20"/>
                      <a:pt x="16" y="20"/>
                      <a:pt x="15" y="20"/>
                    </a:cubicBezTo>
                    <a:cubicBezTo>
                      <a:pt x="15" y="19"/>
                      <a:pt x="15" y="19"/>
                      <a:pt x="14" y="19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8"/>
                      <a:pt x="14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6"/>
                      <a:pt x="12" y="16"/>
                      <a:pt x="12" y="16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3"/>
                      <a:pt x="12" y="13"/>
                      <a:pt x="13" y="13"/>
                    </a:cubicBezTo>
                    <a:cubicBezTo>
                      <a:pt x="12" y="13"/>
                      <a:pt x="12" y="13"/>
                      <a:pt x="12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10"/>
                      <a:pt x="13" y="10"/>
                      <a:pt x="14" y="10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15" y="8"/>
                      <a:pt x="15" y="8"/>
                      <a:pt x="15" y="8"/>
                    </a:cubicBezTo>
                    <a:cubicBezTo>
                      <a:pt x="15" y="8"/>
                      <a:pt x="16" y="8"/>
                      <a:pt x="16" y="7"/>
                    </a:cubicBezTo>
                    <a:cubicBezTo>
                      <a:pt x="16" y="7"/>
                      <a:pt x="16" y="7"/>
                      <a:pt x="17" y="7"/>
                    </a:cubicBezTo>
                    <a:cubicBezTo>
                      <a:pt x="17" y="7"/>
                      <a:pt x="17" y="7"/>
                      <a:pt x="17" y="7"/>
                    </a:cubicBezTo>
                    <a:cubicBezTo>
                      <a:pt x="17" y="6"/>
                      <a:pt x="17" y="6"/>
                      <a:pt x="16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3" y="4"/>
                      <a:pt x="9" y="4"/>
                      <a:pt x="7" y="3"/>
                    </a:cubicBezTo>
                    <a:cubicBezTo>
                      <a:pt x="7" y="3"/>
                      <a:pt x="6" y="1"/>
                      <a:pt x="5" y="0"/>
                    </a:cubicBezTo>
                    <a:cubicBezTo>
                      <a:pt x="4" y="0"/>
                      <a:pt x="2" y="3"/>
                      <a:pt x="1" y="5"/>
                    </a:cubicBezTo>
                    <a:cubicBezTo>
                      <a:pt x="0" y="7"/>
                      <a:pt x="0" y="10"/>
                      <a:pt x="2" y="12"/>
                    </a:cubicBezTo>
                    <a:cubicBezTo>
                      <a:pt x="4" y="14"/>
                      <a:pt x="2" y="17"/>
                      <a:pt x="2" y="17"/>
                    </a:cubicBezTo>
                    <a:cubicBezTo>
                      <a:pt x="3" y="17"/>
                      <a:pt x="4" y="20"/>
                      <a:pt x="5" y="21"/>
                    </a:cubicBezTo>
                    <a:cubicBezTo>
                      <a:pt x="9" y="25"/>
                      <a:pt x="17" y="21"/>
                      <a:pt x="17" y="21"/>
                    </a:cubicBezTo>
                    <a:cubicBezTo>
                      <a:pt x="17" y="20"/>
                      <a:pt x="17" y="20"/>
                      <a:pt x="16" y="20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18" name="Freeform 183">
                <a:extLst>
                  <a:ext uri="{FF2B5EF4-FFF2-40B4-BE49-F238E27FC236}">
                    <a16:creationId xmlns:a16="http://schemas.microsoft.com/office/drawing/2014/main" id="{EDD17A9D-05C7-3641-FF46-51CE7D665FB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05410" y="4289382"/>
                <a:ext cx="323485" cy="292677"/>
              </a:xfrm>
              <a:custGeom>
                <a:avLst/>
                <a:gdLst>
                  <a:gd name="T0" fmla="*/ 55 w 80"/>
                  <a:gd name="T1" fmla="*/ 69 h 72"/>
                  <a:gd name="T2" fmla="*/ 54 w 80"/>
                  <a:gd name="T3" fmla="*/ 66 h 72"/>
                  <a:gd name="T4" fmla="*/ 55 w 80"/>
                  <a:gd name="T5" fmla="*/ 65 h 72"/>
                  <a:gd name="T6" fmla="*/ 57 w 80"/>
                  <a:gd name="T7" fmla="*/ 63 h 72"/>
                  <a:gd name="T8" fmla="*/ 56 w 80"/>
                  <a:gd name="T9" fmla="*/ 62 h 72"/>
                  <a:gd name="T10" fmla="*/ 56 w 80"/>
                  <a:gd name="T11" fmla="*/ 60 h 72"/>
                  <a:gd name="T12" fmla="*/ 58 w 80"/>
                  <a:gd name="T13" fmla="*/ 57 h 72"/>
                  <a:gd name="T14" fmla="*/ 58 w 80"/>
                  <a:gd name="T15" fmla="*/ 54 h 72"/>
                  <a:gd name="T16" fmla="*/ 57 w 80"/>
                  <a:gd name="T17" fmla="*/ 53 h 72"/>
                  <a:gd name="T18" fmla="*/ 57 w 80"/>
                  <a:gd name="T19" fmla="*/ 50 h 72"/>
                  <a:gd name="T20" fmla="*/ 55 w 80"/>
                  <a:gd name="T21" fmla="*/ 47 h 72"/>
                  <a:gd name="T22" fmla="*/ 55 w 80"/>
                  <a:gd name="T23" fmla="*/ 45 h 72"/>
                  <a:gd name="T24" fmla="*/ 58 w 80"/>
                  <a:gd name="T25" fmla="*/ 44 h 72"/>
                  <a:gd name="T26" fmla="*/ 60 w 80"/>
                  <a:gd name="T27" fmla="*/ 45 h 72"/>
                  <a:gd name="T28" fmla="*/ 62 w 80"/>
                  <a:gd name="T29" fmla="*/ 45 h 72"/>
                  <a:gd name="T30" fmla="*/ 64 w 80"/>
                  <a:gd name="T31" fmla="*/ 44 h 72"/>
                  <a:gd name="T32" fmla="*/ 66 w 80"/>
                  <a:gd name="T33" fmla="*/ 44 h 72"/>
                  <a:gd name="T34" fmla="*/ 68 w 80"/>
                  <a:gd name="T35" fmla="*/ 43 h 72"/>
                  <a:gd name="T36" fmla="*/ 67 w 80"/>
                  <a:gd name="T37" fmla="*/ 40 h 72"/>
                  <a:gd name="T38" fmla="*/ 68 w 80"/>
                  <a:gd name="T39" fmla="*/ 39 h 72"/>
                  <a:gd name="T40" fmla="*/ 70 w 80"/>
                  <a:gd name="T41" fmla="*/ 36 h 72"/>
                  <a:gd name="T42" fmla="*/ 73 w 80"/>
                  <a:gd name="T43" fmla="*/ 35 h 72"/>
                  <a:gd name="T44" fmla="*/ 73 w 80"/>
                  <a:gd name="T45" fmla="*/ 32 h 72"/>
                  <a:gd name="T46" fmla="*/ 72 w 80"/>
                  <a:gd name="T47" fmla="*/ 30 h 72"/>
                  <a:gd name="T48" fmla="*/ 71 w 80"/>
                  <a:gd name="T49" fmla="*/ 28 h 72"/>
                  <a:gd name="T50" fmla="*/ 70 w 80"/>
                  <a:gd name="T51" fmla="*/ 29 h 72"/>
                  <a:gd name="T52" fmla="*/ 68 w 80"/>
                  <a:gd name="T53" fmla="*/ 28 h 72"/>
                  <a:gd name="T54" fmla="*/ 69 w 80"/>
                  <a:gd name="T55" fmla="*/ 26 h 72"/>
                  <a:gd name="T56" fmla="*/ 68 w 80"/>
                  <a:gd name="T57" fmla="*/ 25 h 72"/>
                  <a:gd name="T58" fmla="*/ 69 w 80"/>
                  <a:gd name="T59" fmla="*/ 24 h 72"/>
                  <a:gd name="T60" fmla="*/ 71 w 80"/>
                  <a:gd name="T61" fmla="*/ 24 h 72"/>
                  <a:gd name="T62" fmla="*/ 73 w 80"/>
                  <a:gd name="T63" fmla="*/ 24 h 72"/>
                  <a:gd name="T64" fmla="*/ 74 w 80"/>
                  <a:gd name="T65" fmla="*/ 20 h 72"/>
                  <a:gd name="T66" fmla="*/ 75 w 80"/>
                  <a:gd name="T67" fmla="*/ 16 h 72"/>
                  <a:gd name="T68" fmla="*/ 76 w 80"/>
                  <a:gd name="T69" fmla="*/ 14 h 72"/>
                  <a:gd name="T70" fmla="*/ 76 w 80"/>
                  <a:gd name="T71" fmla="*/ 10 h 72"/>
                  <a:gd name="T72" fmla="*/ 77 w 80"/>
                  <a:gd name="T73" fmla="*/ 7 h 72"/>
                  <a:gd name="T74" fmla="*/ 78 w 80"/>
                  <a:gd name="T75" fmla="*/ 7 h 72"/>
                  <a:gd name="T76" fmla="*/ 79 w 80"/>
                  <a:gd name="T77" fmla="*/ 8 h 72"/>
                  <a:gd name="T78" fmla="*/ 79 w 80"/>
                  <a:gd name="T79" fmla="*/ 6 h 72"/>
                  <a:gd name="T80" fmla="*/ 76 w 80"/>
                  <a:gd name="T81" fmla="*/ 5 h 72"/>
                  <a:gd name="T82" fmla="*/ 73 w 80"/>
                  <a:gd name="T83" fmla="*/ 4 h 72"/>
                  <a:gd name="T84" fmla="*/ 63 w 80"/>
                  <a:gd name="T85" fmla="*/ 2 h 72"/>
                  <a:gd name="T86" fmla="*/ 52 w 80"/>
                  <a:gd name="T87" fmla="*/ 0 h 72"/>
                  <a:gd name="T88" fmla="*/ 40 w 80"/>
                  <a:gd name="T89" fmla="*/ 7 h 72"/>
                  <a:gd name="T90" fmla="*/ 26 w 80"/>
                  <a:gd name="T91" fmla="*/ 14 h 72"/>
                  <a:gd name="T92" fmla="*/ 18 w 80"/>
                  <a:gd name="T93" fmla="*/ 33 h 72"/>
                  <a:gd name="T94" fmla="*/ 24 w 80"/>
                  <a:gd name="T95" fmla="*/ 42 h 72"/>
                  <a:gd name="T96" fmla="*/ 16 w 80"/>
                  <a:gd name="T97" fmla="*/ 43 h 72"/>
                  <a:gd name="T98" fmla="*/ 13 w 80"/>
                  <a:gd name="T99" fmla="*/ 43 h 72"/>
                  <a:gd name="T100" fmla="*/ 8 w 80"/>
                  <a:gd name="T101" fmla="*/ 43 h 72"/>
                  <a:gd name="T102" fmla="*/ 16 w 80"/>
                  <a:gd name="T103" fmla="*/ 49 h 72"/>
                  <a:gd name="T104" fmla="*/ 4 w 80"/>
                  <a:gd name="T105" fmla="*/ 45 h 72"/>
                  <a:gd name="T106" fmla="*/ 10 w 80"/>
                  <a:gd name="T107" fmla="*/ 50 h 72"/>
                  <a:gd name="T108" fmla="*/ 13 w 80"/>
                  <a:gd name="T109" fmla="*/ 50 h 72"/>
                  <a:gd name="T110" fmla="*/ 1 w 80"/>
                  <a:gd name="T111" fmla="*/ 49 h 72"/>
                  <a:gd name="T112" fmla="*/ 6 w 80"/>
                  <a:gd name="T113" fmla="*/ 53 h 72"/>
                  <a:gd name="T114" fmla="*/ 23 w 80"/>
                  <a:gd name="T115" fmla="*/ 49 h 72"/>
                  <a:gd name="T116" fmla="*/ 37 w 80"/>
                  <a:gd name="T117" fmla="*/ 53 h 72"/>
                  <a:gd name="T118" fmla="*/ 41 w 80"/>
                  <a:gd name="T119" fmla="*/ 64 h 72"/>
                  <a:gd name="T120" fmla="*/ 52 w 80"/>
                  <a:gd name="T121" fmla="*/ 7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0" h="72">
                    <a:moveTo>
                      <a:pt x="54" y="70"/>
                    </a:moveTo>
                    <a:cubicBezTo>
                      <a:pt x="55" y="70"/>
                      <a:pt x="55" y="70"/>
                      <a:pt x="55" y="70"/>
                    </a:cubicBezTo>
                    <a:cubicBezTo>
                      <a:pt x="55" y="69"/>
                      <a:pt x="55" y="69"/>
                      <a:pt x="55" y="69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67"/>
                      <a:pt x="54" y="67"/>
                      <a:pt x="54" y="67"/>
                    </a:cubicBezTo>
                    <a:cubicBezTo>
                      <a:pt x="54" y="67"/>
                      <a:pt x="54" y="66"/>
                      <a:pt x="54" y="66"/>
                    </a:cubicBezTo>
                    <a:cubicBezTo>
                      <a:pt x="54" y="66"/>
                      <a:pt x="54" y="66"/>
                      <a:pt x="54" y="65"/>
                    </a:cubicBezTo>
                    <a:cubicBezTo>
                      <a:pt x="54" y="65"/>
                      <a:pt x="54" y="65"/>
                      <a:pt x="54" y="65"/>
                    </a:cubicBezTo>
                    <a:cubicBezTo>
                      <a:pt x="54" y="65"/>
                      <a:pt x="55" y="65"/>
                      <a:pt x="55" y="65"/>
                    </a:cubicBezTo>
                    <a:cubicBezTo>
                      <a:pt x="55" y="65"/>
                      <a:pt x="56" y="65"/>
                      <a:pt x="56" y="65"/>
                    </a:cubicBezTo>
                    <a:cubicBezTo>
                      <a:pt x="56" y="64"/>
                      <a:pt x="56" y="64"/>
                      <a:pt x="57" y="64"/>
                    </a:cubicBezTo>
                    <a:cubicBezTo>
                      <a:pt x="57" y="63"/>
                      <a:pt x="57" y="63"/>
                      <a:pt x="57" y="63"/>
                    </a:cubicBezTo>
                    <a:cubicBezTo>
                      <a:pt x="57" y="63"/>
                      <a:pt x="57" y="62"/>
                      <a:pt x="57" y="62"/>
                    </a:cubicBezTo>
                    <a:cubicBezTo>
                      <a:pt x="57" y="62"/>
                      <a:pt x="56" y="62"/>
                      <a:pt x="56" y="62"/>
                    </a:cubicBezTo>
                    <a:cubicBezTo>
                      <a:pt x="56" y="62"/>
                      <a:pt x="56" y="62"/>
                      <a:pt x="56" y="62"/>
                    </a:cubicBezTo>
                    <a:cubicBezTo>
                      <a:pt x="56" y="61"/>
                      <a:pt x="56" y="61"/>
                      <a:pt x="55" y="61"/>
                    </a:cubicBezTo>
                    <a:cubicBezTo>
                      <a:pt x="55" y="61"/>
                      <a:pt x="55" y="61"/>
                      <a:pt x="56" y="60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59"/>
                      <a:pt x="57" y="59"/>
                      <a:pt x="57" y="59"/>
                    </a:cubicBezTo>
                    <a:cubicBezTo>
                      <a:pt x="57" y="58"/>
                      <a:pt x="57" y="58"/>
                      <a:pt x="58" y="58"/>
                    </a:cubicBezTo>
                    <a:cubicBezTo>
                      <a:pt x="58" y="58"/>
                      <a:pt x="58" y="58"/>
                      <a:pt x="58" y="57"/>
                    </a:cubicBezTo>
                    <a:cubicBezTo>
                      <a:pt x="58" y="57"/>
                      <a:pt x="58" y="57"/>
                      <a:pt x="58" y="56"/>
                    </a:cubicBezTo>
                    <a:cubicBezTo>
                      <a:pt x="58" y="56"/>
                      <a:pt x="58" y="56"/>
                      <a:pt x="58" y="55"/>
                    </a:cubicBezTo>
                    <a:cubicBezTo>
                      <a:pt x="58" y="55"/>
                      <a:pt x="58" y="55"/>
                      <a:pt x="58" y="54"/>
                    </a:cubicBezTo>
                    <a:cubicBezTo>
                      <a:pt x="58" y="54"/>
                      <a:pt x="58" y="54"/>
                      <a:pt x="58" y="54"/>
                    </a:cubicBezTo>
                    <a:cubicBezTo>
                      <a:pt x="58" y="54"/>
                      <a:pt x="58" y="53"/>
                      <a:pt x="58" y="53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6" y="52"/>
                      <a:pt x="56" y="52"/>
                      <a:pt x="56" y="52"/>
                    </a:cubicBezTo>
                    <a:cubicBezTo>
                      <a:pt x="56" y="51"/>
                      <a:pt x="56" y="51"/>
                      <a:pt x="56" y="51"/>
                    </a:cubicBezTo>
                    <a:cubicBezTo>
                      <a:pt x="56" y="50"/>
                      <a:pt x="57" y="50"/>
                      <a:pt x="57" y="50"/>
                    </a:cubicBezTo>
                    <a:cubicBezTo>
                      <a:pt x="57" y="49"/>
                      <a:pt x="56" y="49"/>
                      <a:pt x="56" y="49"/>
                    </a:cubicBezTo>
                    <a:cubicBezTo>
                      <a:pt x="56" y="49"/>
                      <a:pt x="56" y="48"/>
                      <a:pt x="56" y="48"/>
                    </a:cubicBezTo>
                    <a:cubicBezTo>
                      <a:pt x="56" y="48"/>
                      <a:pt x="55" y="48"/>
                      <a:pt x="55" y="47"/>
                    </a:cubicBezTo>
                    <a:cubicBezTo>
                      <a:pt x="55" y="47"/>
                      <a:pt x="55" y="47"/>
                      <a:pt x="55" y="46"/>
                    </a:cubicBezTo>
                    <a:cubicBezTo>
                      <a:pt x="55" y="46"/>
                      <a:pt x="55" y="46"/>
                      <a:pt x="55" y="45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6" y="45"/>
                      <a:pt x="56" y="45"/>
                      <a:pt x="57" y="45"/>
                    </a:cubicBezTo>
                    <a:cubicBezTo>
                      <a:pt x="57" y="45"/>
                      <a:pt x="57" y="45"/>
                      <a:pt x="58" y="44"/>
                    </a:cubicBezTo>
                    <a:cubicBezTo>
                      <a:pt x="58" y="44"/>
                      <a:pt x="58" y="44"/>
                      <a:pt x="58" y="44"/>
                    </a:cubicBezTo>
                    <a:cubicBezTo>
                      <a:pt x="58" y="44"/>
                      <a:pt x="59" y="44"/>
                      <a:pt x="59" y="44"/>
                    </a:cubicBezTo>
                    <a:cubicBezTo>
                      <a:pt x="59" y="44"/>
                      <a:pt x="59" y="44"/>
                      <a:pt x="60" y="45"/>
                    </a:cubicBezTo>
                    <a:cubicBezTo>
                      <a:pt x="60" y="45"/>
                      <a:pt x="60" y="45"/>
                      <a:pt x="60" y="45"/>
                    </a:cubicBezTo>
                    <a:cubicBezTo>
                      <a:pt x="60" y="45"/>
                      <a:pt x="61" y="46"/>
                      <a:pt x="61" y="46"/>
                    </a:cubicBezTo>
                    <a:cubicBezTo>
                      <a:pt x="61" y="46"/>
                      <a:pt x="61" y="46"/>
                      <a:pt x="61" y="45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2" y="45"/>
                      <a:pt x="62" y="45"/>
                      <a:pt x="62" y="44"/>
                    </a:cubicBezTo>
                    <a:cubicBezTo>
                      <a:pt x="63" y="44"/>
                      <a:pt x="63" y="44"/>
                      <a:pt x="63" y="45"/>
                    </a:cubicBezTo>
                    <a:cubicBezTo>
                      <a:pt x="63" y="44"/>
                      <a:pt x="63" y="44"/>
                      <a:pt x="64" y="44"/>
                    </a:cubicBezTo>
                    <a:cubicBezTo>
                      <a:pt x="64" y="44"/>
                      <a:pt x="64" y="44"/>
                      <a:pt x="64" y="44"/>
                    </a:cubicBezTo>
                    <a:cubicBezTo>
                      <a:pt x="64" y="44"/>
                      <a:pt x="65" y="43"/>
                      <a:pt x="65" y="43"/>
                    </a:cubicBezTo>
                    <a:cubicBezTo>
                      <a:pt x="65" y="43"/>
                      <a:pt x="65" y="43"/>
                      <a:pt x="66" y="44"/>
                    </a:cubicBezTo>
                    <a:cubicBezTo>
                      <a:pt x="66" y="44"/>
                      <a:pt x="66" y="44"/>
                      <a:pt x="66" y="44"/>
                    </a:cubicBezTo>
                    <a:cubicBezTo>
                      <a:pt x="66" y="44"/>
                      <a:pt x="67" y="44"/>
                      <a:pt x="67" y="44"/>
                    </a:cubicBezTo>
                    <a:cubicBezTo>
                      <a:pt x="67" y="43"/>
                      <a:pt x="67" y="43"/>
                      <a:pt x="68" y="43"/>
                    </a:cubicBezTo>
                    <a:cubicBezTo>
                      <a:pt x="68" y="42"/>
                      <a:pt x="68" y="42"/>
                      <a:pt x="68" y="42"/>
                    </a:cubicBezTo>
                    <a:cubicBezTo>
                      <a:pt x="68" y="41"/>
                      <a:pt x="68" y="41"/>
                      <a:pt x="68" y="40"/>
                    </a:cubicBezTo>
                    <a:cubicBezTo>
                      <a:pt x="68" y="40"/>
                      <a:pt x="67" y="40"/>
                      <a:pt x="67" y="40"/>
                    </a:cubicBezTo>
                    <a:cubicBezTo>
                      <a:pt x="67" y="40"/>
                      <a:pt x="67" y="40"/>
                      <a:pt x="67" y="39"/>
                    </a:cubicBezTo>
                    <a:cubicBezTo>
                      <a:pt x="67" y="39"/>
                      <a:pt x="67" y="39"/>
                      <a:pt x="67" y="39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8"/>
                      <a:pt x="68" y="38"/>
                      <a:pt x="69" y="38"/>
                    </a:cubicBezTo>
                    <a:cubicBezTo>
                      <a:pt x="69" y="38"/>
                      <a:pt x="69" y="38"/>
                      <a:pt x="69" y="37"/>
                    </a:cubicBezTo>
                    <a:cubicBezTo>
                      <a:pt x="70" y="37"/>
                      <a:pt x="70" y="36"/>
                      <a:pt x="70" y="36"/>
                    </a:cubicBezTo>
                    <a:cubicBezTo>
                      <a:pt x="71" y="36"/>
                      <a:pt x="71" y="36"/>
                      <a:pt x="71" y="36"/>
                    </a:cubicBezTo>
                    <a:cubicBezTo>
                      <a:pt x="72" y="36"/>
                      <a:pt x="72" y="36"/>
                      <a:pt x="72" y="36"/>
                    </a:cubicBezTo>
                    <a:cubicBezTo>
                      <a:pt x="72" y="35"/>
                      <a:pt x="73" y="35"/>
                      <a:pt x="73" y="35"/>
                    </a:cubicBezTo>
                    <a:cubicBezTo>
                      <a:pt x="73" y="35"/>
                      <a:pt x="73" y="35"/>
                      <a:pt x="73" y="34"/>
                    </a:cubicBezTo>
                    <a:cubicBezTo>
                      <a:pt x="73" y="34"/>
                      <a:pt x="73" y="34"/>
                      <a:pt x="73" y="33"/>
                    </a:cubicBezTo>
                    <a:cubicBezTo>
                      <a:pt x="73" y="33"/>
                      <a:pt x="73" y="33"/>
                      <a:pt x="73" y="32"/>
                    </a:cubicBezTo>
                    <a:cubicBezTo>
                      <a:pt x="73" y="32"/>
                      <a:pt x="73" y="32"/>
                      <a:pt x="73" y="32"/>
                    </a:cubicBezTo>
                    <a:cubicBezTo>
                      <a:pt x="72" y="31"/>
                      <a:pt x="72" y="31"/>
                      <a:pt x="72" y="31"/>
                    </a:cubicBezTo>
                    <a:cubicBezTo>
                      <a:pt x="72" y="31"/>
                      <a:pt x="72" y="31"/>
                      <a:pt x="72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2" y="29"/>
                      <a:pt x="72" y="29"/>
                      <a:pt x="72" y="29"/>
                    </a:cubicBezTo>
                    <a:cubicBezTo>
                      <a:pt x="72" y="29"/>
                      <a:pt x="71" y="29"/>
                      <a:pt x="71" y="28"/>
                    </a:cubicBezTo>
                    <a:cubicBezTo>
                      <a:pt x="71" y="28"/>
                      <a:pt x="71" y="28"/>
                      <a:pt x="71" y="29"/>
                    </a:cubicBezTo>
                    <a:cubicBezTo>
                      <a:pt x="71" y="29"/>
                      <a:pt x="70" y="29"/>
                      <a:pt x="70" y="29"/>
                    </a:cubicBezTo>
                    <a:cubicBezTo>
                      <a:pt x="70" y="29"/>
                      <a:pt x="70" y="29"/>
                      <a:pt x="70" y="29"/>
                    </a:cubicBezTo>
                    <a:cubicBezTo>
                      <a:pt x="69" y="29"/>
                      <a:pt x="69" y="29"/>
                      <a:pt x="69" y="29"/>
                    </a:cubicBezTo>
                    <a:cubicBezTo>
                      <a:pt x="69" y="29"/>
                      <a:pt x="69" y="29"/>
                      <a:pt x="68" y="29"/>
                    </a:cubicBezTo>
                    <a:cubicBezTo>
                      <a:pt x="68" y="28"/>
                      <a:pt x="68" y="28"/>
                      <a:pt x="68" y="28"/>
                    </a:cubicBezTo>
                    <a:cubicBezTo>
                      <a:pt x="68" y="28"/>
                      <a:pt x="68" y="27"/>
                      <a:pt x="68" y="27"/>
                    </a:cubicBezTo>
                    <a:cubicBezTo>
                      <a:pt x="68" y="27"/>
                      <a:pt x="68" y="27"/>
                      <a:pt x="68" y="27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9" y="26"/>
                      <a:pt x="69" y="26"/>
                      <a:pt x="69" y="26"/>
                    </a:cubicBezTo>
                    <a:cubicBezTo>
                      <a:pt x="69" y="25"/>
                      <a:pt x="69" y="25"/>
                      <a:pt x="69" y="25"/>
                    </a:cubicBezTo>
                    <a:cubicBezTo>
                      <a:pt x="69" y="25"/>
                      <a:pt x="69" y="25"/>
                      <a:pt x="68" y="25"/>
                    </a:cubicBezTo>
                    <a:cubicBezTo>
                      <a:pt x="68" y="25"/>
                      <a:pt x="68" y="24"/>
                      <a:pt x="68" y="24"/>
                    </a:cubicBezTo>
                    <a:cubicBezTo>
                      <a:pt x="68" y="24"/>
                      <a:pt x="68" y="24"/>
                      <a:pt x="68" y="24"/>
                    </a:cubicBezTo>
                    <a:cubicBezTo>
                      <a:pt x="69" y="24"/>
                      <a:pt x="69" y="24"/>
                      <a:pt x="69" y="24"/>
                    </a:cubicBezTo>
                    <a:cubicBezTo>
                      <a:pt x="69" y="24"/>
                      <a:pt x="69" y="24"/>
                      <a:pt x="70" y="24"/>
                    </a:cubicBezTo>
                    <a:cubicBezTo>
                      <a:pt x="70" y="24"/>
                      <a:pt x="70" y="24"/>
                      <a:pt x="71" y="24"/>
                    </a:cubicBezTo>
                    <a:cubicBezTo>
                      <a:pt x="71" y="24"/>
                      <a:pt x="71" y="24"/>
                      <a:pt x="71" y="24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2" y="24"/>
                      <a:pt x="72" y="24"/>
                      <a:pt x="73" y="24"/>
                    </a:cubicBezTo>
                    <a:cubicBezTo>
                      <a:pt x="73" y="24"/>
                      <a:pt x="73" y="24"/>
                      <a:pt x="73" y="24"/>
                    </a:cubicBezTo>
                    <a:cubicBezTo>
                      <a:pt x="73" y="23"/>
                      <a:pt x="73" y="23"/>
                      <a:pt x="73" y="22"/>
                    </a:cubicBezTo>
                    <a:cubicBezTo>
                      <a:pt x="73" y="22"/>
                      <a:pt x="73" y="22"/>
                      <a:pt x="74" y="21"/>
                    </a:cubicBezTo>
                    <a:cubicBezTo>
                      <a:pt x="74" y="21"/>
                      <a:pt x="74" y="20"/>
                      <a:pt x="74" y="20"/>
                    </a:cubicBezTo>
                    <a:cubicBezTo>
                      <a:pt x="74" y="19"/>
                      <a:pt x="74" y="19"/>
                      <a:pt x="74" y="18"/>
                    </a:cubicBezTo>
                    <a:cubicBezTo>
                      <a:pt x="74" y="18"/>
                      <a:pt x="74" y="17"/>
                      <a:pt x="75" y="17"/>
                    </a:cubicBezTo>
                    <a:cubicBezTo>
                      <a:pt x="75" y="17"/>
                      <a:pt x="75" y="17"/>
                      <a:pt x="75" y="16"/>
                    </a:cubicBezTo>
                    <a:cubicBezTo>
                      <a:pt x="76" y="16"/>
                      <a:pt x="76" y="16"/>
                      <a:pt x="76" y="16"/>
                    </a:cubicBezTo>
                    <a:cubicBezTo>
                      <a:pt x="76" y="15"/>
                      <a:pt x="76" y="15"/>
                      <a:pt x="76" y="15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6" y="14"/>
                      <a:pt x="76" y="13"/>
                      <a:pt x="76" y="13"/>
                    </a:cubicBezTo>
                    <a:cubicBezTo>
                      <a:pt x="76" y="12"/>
                      <a:pt x="76" y="12"/>
                      <a:pt x="76" y="12"/>
                    </a:cubicBezTo>
                    <a:cubicBezTo>
                      <a:pt x="76" y="11"/>
                      <a:pt x="76" y="11"/>
                      <a:pt x="76" y="10"/>
                    </a:cubicBezTo>
                    <a:cubicBezTo>
                      <a:pt x="76" y="10"/>
                      <a:pt x="76" y="10"/>
                      <a:pt x="77" y="9"/>
                    </a:cubicBezTo>
                    <a:cubicBezTo>
                      <a:pt x="77" y="9"/>
                      <a:pt x="77" y="8"/>
                      <a:pt x="77" y="8"/>
                    </a:cubicBezTo>
                    <a:cubicBezTo>
                      <a:pt x="77" y="8"/>
                      <a:pt x="77" y="8"/>
                      <a:pt x="77" y="7"/>
                    </a:cubicBezTo>
                    <a:cubicBezTo>
                      <a:pt x="77" y="7"/>
                      <a:pt x="77" y="7"/>
                      <a:pt x="77" y="6"/>
                    </a:cubicBezTo>
                    <a:cubicBezTo>
                      <a:pt x="77" y="6"/>
                      <a:pt x="77" y="6"/>
                      <a:pt x="77" y="6"/>
                    </a:cubicBezTo>
                    <a:cubicBezTo>
                      <a:pt x="77" y="7"/>
                      <a:pt x="77" y="7"/>
                      <a:pt x="78" y="7"/>
                    </a:cubicBezTo>
                    <a:cubicBezTo>
                      <a:pt x="78" y="7"/>
                      <a:pt x="78" y="7"/>
                      <a:pt x="78" y="7"/>
                    </a:cubicBezTo>
                    <a:cubicBezTo>
                      <a:pt x="78" y="8"/>
                      <a:pt x="78" y="8"/>
                      <a:pt x="79" y="8"/>
                    </a:cubicBezTo>
                    <a:cubicBezTo>
                      <a:pt x="79" y="8"/>
                      <a:pt x="79" y="8"/>
                      <a:pt x="79" y="8"/>
                    </a:cubicBezTo>
                    <a:cubicBezTo>
                      <a:pt x="79" y="8"/>
                      <a:pt x="79" y="8"/>
                      <a:pt x="80" y="7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79" y="6"/>
                      <a:pt x="79" y="6"/>
                      <a:pt x="79" y="6"/>
                    </a:cubicBezTo>
                    <a:cubicBezTo>
                      <a:pt x="78" y="6"/>
                      <a:pt x="78" y="6"/>
                      <a:pt x="78" y="5"/>
                    </a:cubicBezTo>
                    <a:cubicBezTo>
                      <a:pt x="77" y="5"/>
                      <a:pt x="77" y="5"/>
                      <a:pt x="77" y="5"/>
                    </a:cubicBezTo>
                    <a:cubicBezTo>
                      <a:pt x="76" y="5"/>
                      <a:pt x="76" y="5"/>
                      <a:pt x="76" y="5"/>
                    </a:cubicBezTo>
                    <a:cubicBezTo>
                      <a:pt x="75" y="5"/>
                      <a:pt x="75" y="5"/>
                      <a:pt x="75" y="5"/>
                    </a:cubicBezTo>
                    <a:cubicBezTo>
                      <a:pt x="74" y="5"/>
                      <a:pt x="74" y="5"/>
                      <a:pt x="74" y="5"/>
                    </a:cubicBezTo>
                    <a:cubicBezTo>
                      <a:pt x="74" y="4"/>
                      <a:pt x="74" y="4"/>
                      <a:pt x="73" y="4"/>
                    </a:cubicBezTo>
                    <a:cubicBezTo>
                      <a:pt x="73" y="4"/>
                      <a:pt x="73" y="4"/>
                      <a:pt x="73" y="4"/>
                    </a:cubicBezTo>
                    <a:cubicBezTo>
                      <a:pt x="70" y="5"/>
                      <a:pt x="67" y="6"/>
                      <a:pt x="66" y="6"/>
                    </a:cubicBezTo>
                    <a:cubicBezTo>
                      <a:pt x="65" y="6"/>
                      <a:pt x="64" y="4"/>
                      <a:pt x="63" y="2"/>
                    </a:cubicBezTo>
                    <a:cubicBezTo>
                      <a:pt x="61" y="1"/>
                      <a:pt x="61" y="2"/>
                      <a:pt x="59" y="2"/>
                    </a:cubicBezTo>
                    <a:cubicBezTo>
                      <a:pt x="56" y="1"/>
                      <a:pt x="54" y="2"/>
                      <a:pt x="52" y="2"/>
                    </a:cubicBezTo>
                    <a:cubicBezTo>
                      <a:pt x="50" y="3"/>
                      <a:pt x="52" y="1"/>
                      <a:pt x="52" y="0"/>
                    </a:cubicBezTo>
                    <a:cubicBezTo>
                      <a:pt x="53" y="0"/>
                      <a:pt x="52" y="0"/>
                      <a:pt x="51" y="1"/>
                    </a:cubicBezTo>
                    <a:cubicBezTo>
                      <a:pt x="50" y="3"/>
                      <a:pt x="47" y="2"/>
                      <a:pt x="45" y="3"/>
                    </a:cubicBezTo>
                    <a:cubicBezTo>
                      <a:pt x="43" y="4"/>
                      <a:pt x="42" y="6"/>
                      <a:pt x="40" y="7"/>
                    </a:cubicBezTo>
                    <a:cubicBezTo>
                      <a:pt x="38" y="8"/>
                      <a:pt x="33" y="13"/>
                      <a:pt x="32" y="14"/>
                    </a:cubicBezTo>
                    <a:cubicBezTo>
                      <a:pt x="30" y="15"/>
                      <a:pt x="28" y="16"/>
                      <a:pt x="28" y="15"/>
                    </a:cubicBezTo>
                    <a:cubicBezTo>
                      <a:pt x="28" y="14"/>
                      <a:pt x="25" y="13"/>
                      <a:pt x="26" y="14"/>
                    </a:cubicBezTo>
                    <a:cubicBezTo>
                      <a:pt x="26" y="15"/>
                      <a:pt x="24" y="20"/>
                      <a:pt x="23" y="22"/>
                    </a:cubicBezTo>
                    <a:cubicBezTo>
                      <a:pt x="23" y="24"/>
                      <a:pt x="22" y="27"/>
                      <a:pt x="20" y="29"/>
                    </a:cubicBezTo>
                    <a:cubicBezTo>
                      <a:pt x="19" y="31"/>
                      <a:pt x="19" y="32"/>
                      <a:pt x="18" y="33"/>
                    </a:cubicBezTo>
                    <a:cubicBezTo>
                      <a:pt x="17" y="34"/>
                      <a:pt x="13" y="37"/>
                      <a:pt x="13" y="38"/>
                    </a:cubicBezTo>
                    <a:cubicBezTo>
                      <a:pt x="13" y="39"/>
                      <a:pt x="14" y="41"/>
                      <a:pt x="16" y="42"/>
                    </a:cubicBezTo>
                    <a:cubicBezTo>
                      <a:pt x="18" y="43"/>
                      <a:pt x="22" y="43"/>
                      <a:pt x="24" y="42"/>
                    </a:cubicBezTo>
                    <a:cubicBezTo>
                      <a:pt x="25" y="41"/>
                      <a:pt x="26" y="41"/>
                      <a:pt x="26" y="42"/>
                    </a:cubicBezTo>
                    <a:cubicBezTo>
                      <a:pt x="26" y="43"/>
                      <a:pt x="23" y="43"/>
                      <a:pt x="22" y="43"/>
                    </a:cubicBezTo>
                    <a:cubicBezTo>
                      <a:pt x="20" y="43"/>
                      <a:pt x="18" y="43"/>
                      <a:pt x="16" y="43"/>
                    </a:cubicBezTo>
                    <a:cubicBezTo>
                      <a:pt x="15" y="44"/>
                      <a:pt x="14" y="41"/>
                      <a:pt x="12" y="40"/>
                    </a:cubicBezTo>
                    <a:cubicBezTo>
                      <a:pt x="11" y="39"/>
                      <a:pt x="11" y="40"/>
                      <a:pt x="11" y="40"/>
                    </a:cubicBezTo>
                    <a:cubicBezTo>
                      <a:pt x="11" y="41"/>
                      <a:pt x="12" y="42"/>
                      <a:pt x="13" y="43"/>
                    </a:cubicBezTo>
                    <a:cubicBezTo>
                      <a:pt x="15" y="43"/>
                      <a:pt x="16" y="45"/>
                      <a:pt x="14" y="44"/>
                    </a:cubicBezTo>
                    <a:cubicBezTo>
                      <a:pt x="13" y="44"/>
                      <a:pt x="11" y="42"/>
                      <a:pt x="10" y="41"/>
                    </a:cubicBezTo>
                    <a:cubicBezTo>
                      <a:pt x="9" y="41"/>
                      <a:pt x="7" y="42"/>
                      <a:pt x="8" y="43"/>
                    </a:cubicBezTo>
                    <a:cubicBezTo>
                      <a:pt x="8" y="44"/>
                      <a:pt x="10" y="43"/>
                      <a:pt x="11" y="44"/>
                    </a:cubicBezTo>
                    <a:cubicBezTo>
                      <a:pt x="12" y="45"/>
                      <a:pt x="14" y="47"/>
                      <a:pt x="16" y="47"/>
                    </a:cubicBezTo>
                    <a:cubicBezTo>
                      <a:pt x="17" y="47"/>
                      <a:pt x="17" y="49"/>
                      <a:pt x="16" y="49"/>
                    </a:cubicBezTo>
                    <a:cubicBezTo>
                      <a:pt x="15" y="49"/>
                      <a:pt x="12" y="48"/>
                      <a:pt x="12" y="47"/>
                    </a:cubicBezTo>
                    <a:cubicBezTo>
                      <a:pt x="12" y="46"/>
                      <a:pt x="10" y="46"/>
                      <a:pt x="9" y="45"/>
                    </a:cubicBezTo>
                    <a:cubicBezTo>
                      <a:pt x="8" y="45"/>
                      <a:pt x="5" y="44"/>
                      <a:pt x="4" y="45"/>
                    </a:cubicBezTo>
                    <a:cubicBezTo>
                      <a:pt x="3" y="46"/>
                      <a:pt x="2" y="47"/>
                      <a:pt x="3" y="48"/>
                    </a:cubicBezTo>
                    <a:cubicBezTo>
                      <a:pt x="4" y="49"/>
                      <a:pt x="6" y="49"/>
                      <a:pt x="7" y="49"/>
                    </a:cubicBezTo>
                    <a:cubicBezTo>
                      <a:pt x="8" y="50"/>
                      <a:pt x="8" y="50"/>
                      <a:pt x="10" y="50"/>
                    </a:cubicBezTo>
                    <a:cubicBezTo>
                      <a:pt x="11" y="50"/>
                      <a:pt x="11" y="49"/>
                      <a:pt x="13" y="49"/>
                    </a:cubicBezTo>
                    <a:cubicBezTo>
                      <a:pt x="14" y="50"/>
                      <a:pt x="15" y="50"/>
                      <a:pt x="15" y="51"/>
                    </a:cubicBezTo>
                    <a:cubicBezTo>
                      <a:pt x="15" y="51"/>
                      <a:pt x="14" y="51"/>
                      <a:pt x="13" y="50"/>
                    </a:cubicBezTo>
                    <a:cubicBezTo>
                      <a:pt x="12" y="50"/>
                      <a:pt x="11" y="50"/>
                      <a:pt x="10" y="51"/>
                    </a:cubicBezTo>
                    <a:cubicBezTo>
                      <a:pt x="9" y="51"/>
                      <a:pt x="7" y="51"/>
                      <a:pt x="6" y="51"/>
                    </a:cubicBezTo>
                    <a:cubicBezTo>
                      <a:pt x="5" y="50"/>
                      <a:pt x="3" y="50"/>
                      <a:pt x="1" y="49"/>
                    </a:cubicBezTo>
                    <a:cubicBezTo>
                      <a:pt x="0" y="49"/>
                      <a:pt x="0" y="50"/>
                      <a:pt x="0" y="50"/>
                    </a:cubicBezTo>
                    <a:cubicBezTo>
                      <a:pt x="0" y="50"/>
                      <a:pt x="1" y="52"/>
                      <a:pt x="2" y="53"/>
                    </a:cubicBezTo>
                    <a:cubicBezTo>
                      <a:pt x="3" y="54"/>
                      <a:pt x="5" y="52"/>
                      <a:pt x="6" y="53"/>
                    </a:cubicBezTo>
                    <a:cubicBezTo>
                      <a:pt x="7" y="54"/>
                      <a:pt x="10" y="54"/>
                      <a:pt x="12" y="53"/>
                    </a:cubicBezTo>
                    <a:cubicBezTo>
                      <a:pt x="14" y="53"/>
                      <a:pt x="17" y="51"/>
                      <a:pt x="18" y="50"/>
                    </a:cubicBezTo>
                    <a:cubicBezTo>
                      <a:pt x="19" y="48"/>
                      <a:pt x="22" y="49"/>
                      <a:pt x="23" y="49"/>
                    </a:cubicBezTo>
                    <a:cubicBezTo>
                      <a:pt x="25" y="49"/>
                      <a:pt x="28" y="49"/>
                      <a:pt x="30" y="49"/>
                    </a:cubicBezTo>
                    <a:cubicBezTo>
                      <a:pt x="32" y="49"/>
                      <a:pt x="32" y="50"/>
                      <a:pt x="32" y="52"/>
                    </a:cubicBezTo>
                    <a:cubicBezTo>
                      <a:pt x="32" y="54"/>
                      <a:pt x="35" y="53"/>
                      <a:pt x="37" y="53"/>
                    </a:cubicBezTo>
                    <a:cubicBezTo>
                      <a:pt x="39" y="53"/>
                      <a:pt x="42" y="54"/>
                      <a:pt x="43" y="55"/>
                    </a:cubicBezTo>
                    <a:cubicBezTo>
                      <a:pt x="45" y="56"/>
                      <a:pt x="44" y="57"/>
                      <a:pt x="43" y="59"/>
                    </a:cubicBezTo>
                    <a:cubicBezTo>
                      <a:pt x="42" y="61"/>
                      <a:pt x="41" y="63"/>
                      <a:pt x="41" y="64"/>
                    </a:cubicBezTo>
                    <a:cubicBezTo>
                      <a:pt x="41" y="65"/>
                      <a:pt x="44" y="65"/>
                      <a:pt x="46" y="65"/>
                    </a:cubicBezTo>
                    <a:cubicBezTo>
                      <a:pt x="47" y="65"/>
                      <a:pt x="49" y="69"/>
                      <a:pt x="50" y="70"/>
                    </a:cubicBezTo>
                    <a:cubicBezTo>
                      <a:pt x="50" y="72"/>
                      <a:pt x="52" y="71"/>
                      <a:pt x="52" y="71"/>
                    </a:cubicBezTo>
                    <a:cubicBezTo>
                      <a:pt x="53" y="71"/>
                      <a:pt x="53" y="71"/>
                      <a:pt x="54" y="71"/>
                    </a:cubicBezTo>
                    <a:cubicBezTo>
                      <a:pt x="54" y="70"/>
                      <a:pt x="54" y="70"/>
                      <a:pt x="54" y="7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19" name="Gruppieren 304">
                <a:extLst>
                  <a:ext uri="{FF2B5EF4-FFF2-40B4-BE49-F238E27FC236}">
                    <a16:creationId xmlns:a16="http://schemas.microsoft.com/office/drawing/2014/main" id="{7403CA02-B3C9-E729-1BBC-5466DA7DAB1D}"/>
                  </a:ext>
                </a:extLst>
              </p:cNvPr>
              <p:cNvGrpSpPr/>
              <p:nvPr/>
            </p:nvGrpSpPr>
            <p:grpSpPr bwMode="gray">
              <a:xfrm>
                <a:off x="3341218" y="3784129"/>
                <a:ext cx="489848" cy="405126"/>
                <a:chOff x="3303589" y="3824288"/>
                <a:chExt cx="504825" cy="417512"/>
              </a:xfrm>
              <a:grpFill/>
            </p:grpSpPr>
            <p:sp>
              <p:nvSpPr>
                <p:cNvPr id="557" name="Freeform 122">
                  <a:extLst>
                    <a:ext uri="{FF2B5EF4-FFF2-40B4-BE49-F238E27FC236}">
                      <a16:creationId xmlns:a16="http://schemas.microsoft.com/office/drawing/2014/main" id="{168C0130-0D17-C1BF-7EB6-685AE766C2D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03589" y="3824288"/>
                  <a:ext cx="204788" cy="379413"/>
                </a:xfrm>
                <a:custGeom>
                  <a:avLst/>
                  <a:gdLst>
                    <a:gd name="T0" fmla="*/ 10 w 49"/>
                    <a:gd name="T1" fmla="*/ 84 h 91"/>
                    <a:gd name="T2" fmla="*/ 10 w 49"/>
                    <a:gd name="T3" fmla="*/ 78 h 91"/>
                    <a:gd name="T4" fmla="*/ 5 w 49"/>
                    <a:gd name="T5" fmla="*/ 70 h 91"/>
                    <a:gd name="T6" fmla="*/ 7 w 49"/>
                    <a:gd name="T7" fmla="*/ 76 h 91"/>
                    <a:gd name="T8" fmla="*/ 2 w 49"/>
                    <a:gd name="T9" fmla="*/ 67 h 91"/>
                    <a:gd name="T10" fmla="*/ 2 w 49"/>
                    <a:gd name="T11" fmla="*/ 58 h 91"/>
                    <a:gd name="T12" fmla="*/ 5 w 49"/>
                    <a:gd name="T13" fmla="*/ 57 h 91"/>
                    <a:gd name="T14" fmla="*/ 1 w 49"/>
                    <a:gd name="T15" fmla="*/ 55 h 91"/>
                    <a:gd name="T16" fmla="*/ 2 w 49"/>
                    <a:gd name="T17" fmla="*/ 36 h 91"/>
                    <a:gd name="T18" fmla="*/ 7 w 49"/>
                    <a:gd name="T19" fmla="*/ 37 h 91"/>
                    <a:gd name="T20" fmla="*/ 4 w 49"/>
                    <a:gd name="T21" fmla="*/ 28 h 91"/>
                    <a:gd name="T22" fmla="*/ 11 w 49"/>
                    <a:gd name="T23" fmla="*/ 21 h 91"/>
                    <a:gd name="T24" fmla="*/ 20 w 49"/>
                    <a:gd name="T25" fmla="*/ 20 h 91"/>
                    <a:gd name="T26" fmla="*/ 31 w 49"/>
                    <a:gd name="T27" fmla="*/ 7 h 91"/>
                    <a:gd name="T28" fmla="*/ 37 w 49"/>
                    <a:gd name="T29" fmla="*/ 4 h 91"/>
                    <a:gd name="T30" fmla="*/ 39 w 49"/>
                    <a:gd name="T31" fmla="*/ 7 h 91"/>
                    <a:gd name="T32" fmla="*/ 40 w 49"/>
                    <a:gd name="T33" fmla="*/ 20 h 91"/>
                    <a:gd name="T34" fmla="*/ 32 w 49"/>
                    <a:gd name="T35" fmla="*/ 22 h 91"/>
                    <a:gd name="T36" fmla="*/ 22 w 49"/>
                    <a:gd name="T37" fmla="*/ 24 h 91"/>
                    <a:gd name="T38" fmla="*/ 29 w 49"/>
                    <a:gd name="T39" fmla="*/ 23 h 91"/>
                    <a:gd name="T40" fmla="*/ 36 w 49"/>
                    <a:gd name="T41" fmla="*/ 27 h 91"/>
                    <a:gd name="T42" fmla="*/ 36 w 49"/>
                    <a:gd name="T43" fmla="*/ 34 h 91"/>
                    <a:gd name="T44" fmla="*/ 35 w 49"/>
                    <a:gd name="T45" fmla="*/ 35 h 91"/>
                    <a:gd name="T46" fmla="*/ 37 w 49"/>
                    <a:gd name="T47" fmla="*/ 39 h 91"/>
                    <a:gd name="T48" fmla="*/ 38 w 49"/>
                    <a:gd name="T49" fmla="*/ 39 h 91"/>
                    <a:gd name="T50" fmla="*/ 45 w 49"/>
                    <a:gd name="T51" fmla="*/ 40 h 91"/>
                    <a:gd name="T52" fmla="*/ 47 w 49"/>
                    <a:gd name="T53" fmla="*/ 47 h 91"/>
                    <a:gd name="T54" fmla="*/ 43 w 49"/>
                    <a:gd name="T55" fmla="*/ 52 h 91"/>
                    <a:gd name="T56" fmla="*/ 40 w 49"/>
                    <a:gd name="T57" fmla="*/ 50 h 91"/>
                    <a:gd name="T58" fmla="*/ 37 w 49"/>
                    <a:gd name="T59" fmla="*/ 53 h 91"/>
                    <a:gd name="T60" fmla="*/ 35 w 49"/>
                    <a:gd name="T61" fmla="*/ 61 h 91"/>
                    <a:gd name="T62" fmla="*/ 33 w 49"/>
                    <a:gd name="T63" fmla="*/ 65 h 91"/>
                    <a:gd name="T64" fmla="*/ 27 w 49"/>
                    <a:gd name="T65" fmla="*/ 66 h 91"/>
                    <a:gd name="T66" fmla="*/ 29 w 49"/>
                    <a:gd name="T67" fmla="*/ 71 h 91"/>
                    <a:gd name="T68" fmla="*/ 40 w 49"/>
                    <a:gd name="T69" fmla="*/ 68 h 91"/>
                    <a:gd name="T70" fmla="*/ 43 w 49"/>
                    <a:gd name="T71" fmla="*/ 69 h 91"/>
                    <a:gd name="T72" fmla="*/ 48 w 49"/>
                    <a:gd name="T73" fmla="*/ 80 h 91"/>
                    <a:gd name="T74" fmla="*/ 40 w 49"/>
                    <a:gd name="T75" fmla="*/ 85 h 91"/>
                    <a:gd name="T76" fmla="*/ 33 w 49"/>
                    <a:gd name="T77" fmla="*/ 81 h 91"/>
                    <a:gd name="T78" fmla="*/ 28 w 49"/>
                    <a:gd name="T79" fmla="*/ 72 h 91"/>
                    <a:gd name="T80" fmla="*/ 28 w 49"/>
                    <a:gd name="T81" fmla="*/ 78 h 91"/>
                    <a:gd name="T82" fmla="*/ 25 w 49"/>
                    <a:gd name="T83" fmla="*/ 85 h 91"/>
                    <a:gd name="T84" fmla="*/ 30 w 49"/>
                    <a:gd name="T85" fmla="*/ 89 h 91"/>
                    <a:gd name="T86" fmla="*/ 27 w 49"/>
                    <a:gd name="T87" fmla="*/ 90 h 91"/>
                    <a:gd name="T88" fmla="*/ 15 w 49"/>
                    <a:gd name="T89" fmla="*/ 88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9" h="91">
                      <a:moveTo>
                        <a:pt x="11" y="89"/>
                      </a:moveTo>
                      <a:cubicBezTo>
                        <a:pt x="11" y="89"/>
                        <a:pt x="11" y="86"/>
                        <a:pt x="10" y="84"/>
                      </a:cubicBezTo>
                      <a:cubicBezTo>
                        <a:pt x="10" y="82"/>
                        <a:pt x="8" y="83"/>
                        <a:pt x="8" y="81"/>
                      </a:cubicBezTo>
                      <a:cubicBezTo>
                        <a:pt x="7" y="80"/>
                        <a:pt x="10" y="80"/>
                        <a:pt x="10" y="78"/>
                      </a:cubicBezTo>
                      <a:cubicBezTo>
                        <a:pt x="11" y="76"/>
                        <a:pt x="9" y="74"/>
                        <a:pt x="8" y="73"/>
                      </a:cubicBezTo>
                      <a:cubicBezTo>
                        <a:pt x="6" y="71"/>
                        <a:pt x="6" y="69"/>
                        <a:pt x="5" y="70"/>
                      </a:cubicBezTo>
                      <a:cubicBezTo>
                        <a:pt x="4" y="71"/>
                        <a:pt x="5" y="72"/>
                        <a:pt x="5" y="73"/>
                      </a:cubicBezTo>
                      <a:cubicBezTo>
                        <a:pt x="6" y="74"/>
                        <a:pt x="8" y="77"/>
                        <a:pt x="7" y="76"/>
                      </a:cubicBezTo>
                      <a:cubicBezTo>
                        <a:pt x="6" y="76"/>
                        <a:pt x="4" y="73"/>
                        <a:pt x="3" y="71"/>
                      </a:cubicBezTo>
                      <a:cubicBezTo>
                        <a:pt x="2" y="69"/>
                        <a:pt x="1" y="69"/>
                        <a:pt x="2" y="67"/>
                      </a:cubicBezTo>
                      <a:cubicBezTo>
                        <a:pt x="2" y="65"/>
                        <a:pt x="2" y="63"/>
                        <a:pt x="2" y="61"/>
                      </a:cubicBezTo>
                      <a:cubicBezTo>
                        <a:pt x="1" y="60"/>
                        <a:pt x="1" y="56"/>
                        <a:pt x="2" y="58"/>
                      </a:cubicBezTo>
                      <a:cubicBezTo>
                        <a:pt x="2" y="59"/>
                        <a:pt x="3" y="62"/>
                        <a:pt x="4" y="61"/>
                      </a:cubicBezTo>
                      <a:cubicBezTo>
                        <a:pt x="5" y="60"/>
                        <a:pt x="6" y="59"/>
                        <a:pt x="5" y="57"/>
                      </a:cubicBezTo>
                      <a:cubicBezTo>
                        <a:pt x="4" y="55"/>
                        <a:pt x="2" y="53"/>
                        <a:pt x="2" y="55"/>
                      </a:cubicBezTo>
                      <a:cubicBezTo>
                        <a:pt x="1" y="56"/>
                        <a:pt x="1" y="58"/>
                        <a:pt x="1" y="55"/>
                      </a:cubicBezTo>
                      <a:cubicBezTo>
                        <a:pt x="1" y="52"/>
                        <a:pt x="0" y="48"/>
                        <a:pt x="0" y="44"/>
                      </a:cubicBezTo>
                      <a:cubicBezTo>
                        <a:pt x="0" y="40"/>
                        <a:pt x="1" y="34"/>
                        <a:pt x="2" y="36"/>
                      </a:cubicBezTo>
                      <a:cubicBezTo>
                        <a:pt x="3" y="38"/>
                        <a:pt x="4" y="38"/>
                        <a:pt x="5" y="39"/>
                      </a:cubicBezTo>
                      <a:cubicBezTo>
                        <a:pt x="7" y="39"/>
                        <a:pt x="8" y="39"/>
                        <a:pt x="7" y="37"/>
                      </a:cubicBezTo>
                      <a:cubicBezTo>
                        <a:pt x="7" y="36"/>
                        <a:pt x="5" y="36"/>
                        <a:pt x="4" y="34"/>
                      </a:cubicBezTo>
                      <a:cubicBezTo>
                        <a:pt x="3" y="32"/>
                        <a:pt x="3" y="30"/>
                        <a:pt x="4" y="28"/>
                      </a:cubicBezTo>
                      <a:cubicBezTo>
                        <a:pt x="5" y="27"/>
                        <a:pt x="8" y="22"/>
                        <a:pt x="8" y="21"/>
                      </a:cubicBezTo>
                      <a:cubicBezTo>
                        <a:pt x="9" y="20"/>
                        <a:pt x="10" y="21"/>
                        <a:pt x="11" y="21"/>
                      </a:cubicBezTo>
                      <a:cubicBezTo>
                        <a:pt x="12" y="21"/>
                        <a:pt x="14" y="21"/>
                        <a:pt x="15" y="20"/>
                      </a:cubicBezTo>
                      <a:cubicBezTo>
                        <a:pt x="16" y="19"/>
                        <a:pt x="18" y="20"/>
                        <a:pt x="20" y="20"/>
                      </a:cubicBezTo>
                      <a:cubicBezTo>
                        <a:pt x="22" y="20"/>
                        <a:pt x="25" y="17"/>
                        <a:pt x="26" y="14"/>
                      </a:cubicBezTo>
                      <a:cubicBezTo>
                        <a:pt x="28" y="11"/>
                        <a:pt x="29" y="9"/>
                        <a:pt x="31" y="7"/>
                      </a:cubicBezTo>
                      <a:cubicBezTo>
                        <a:pt x="32" y="6"/>
                        <a:pt x="32" y="6"/>
                        <a:pt x="34" y="6"/>
                      </a:cubicBezTo>
                      <a:cubicBezTo>
                        <a:pt x="35" y="6"/>
                        <a:pt x="35" y="6"/>
                        <a:pt x="37" y="4"/>
                      </a:cubicBezTo>
                      <a:cubicBezTo>
                        <a:pt x="39" y="3"/>
                        <a:pt x="42" y="0"/>
                        <a:pt x="41" y="1"/>
                      </a:cubicBezTo>
                      <a:cubicBezTo>
                        <a:pt x="40" y="2"/>
                        <a:pt x="38" y="6"/>
                        <a:pt x="39" y="7"/>
                      </a:cubicBezTo>
                      <a:cubicBezTo>
                        <a:pt x="39" y="8"/>
                        <a:pt x="40" y="10"/>
                        <a:pt x="40" y="13"/>
                      </a:cubicBezTo>
                      <a:cubicBezTo>
                        <a:pt x="41" y="15"/>
                        <a:pt x="41" y="18"/>
                        <a:pt x="40" y="20"/>
                      </a:cubicBezTo>
                      <a:cubicBezTo>
                        <a:pt x="39" y="21"/>
                        <a:pt x="37" y="27"/>
                        <a:pt x="36" y="25"/>
                      </a:cubicBezTo>
                      <a:cubicBezTo>
                        <a:pt x="36" y="24"/>
                        <a:pt x="34" y="23"/>
                        <a:pt x="32" y="22"/>
                      </a:cubicBezTo>
                      <a:cubicBezTo>
                        <a:pt x="31" y="21"/>
                        <a:pt x="28" y="22"/>
                        <a:pt x="27" y="23"/>
                      </a:cubicBezTo>
                      <a:cubicBezTo>
                        <a:pt x="25" y="24"/>
                        <a:pt x="23" y="24"/>
                        <a:pt x="22" y="24"/>
                      </a:cubicBezTo>
                      <a:cubicBezTo>
                        <a:pt x="21" y="25"/>
                        <a:pt x="22" y="25"/>
                        <a:pt x="24" y="24"/>
                      </a:cubicBezTo>
                      <a:cubicBezTo>
                        <a:pt x="26" y="23"/>
                        <a:pt x="28" y="23"/>
                        <a:pt x="29" y="23"/>
                      </a:cubicBezTo>
                      <a:cubicBezTo>
                        <a:pt x="30" y="22"/>
                        <a:pt x="31" y="22"/>
                        <a:pt x="33" y="23"/>
                      </a:cubicBezTo>
                      <a:cubicBezTo>
                        <a:pt x="35" y="24"/>
                        <a:pt x="36" y="25"/>
                        <a:pt x="36" y="27"/>
                      </a:cubicBezTo>
                      <a:cubicBezTo>
                        <a:pt x="37" y="29"/>
                        <a:pt x="37" y="32"/>
                        <a:pt x="38" y="33"/>
                      </a:cubicBezTo>
                      <a:cubicBezTo>
                        <a:pt x="38" y="34"/>
                        <a:pt x="37" y="35"/>
                        <a:pt x="36" y="34"/>
                      </a:cubicBezTo>
                      <a:cubicBezTo>
                        <a:pt x="34" y="34"/>
                        <a:pt x="29" y="37"/>
                        <a:pt x="31" y="37"/>
                      </a:cubicBezTo>
                      <a:cubicBezTo>
                        <a:pt x="32" y="36"/>
                        <a:pt x="34" y="35"/>
                        <a:pt x="35" y="35"/>
                      </a:cubicBezTo>
                      <a:cubicBezTo>
                        <a:pt x="37" y="35"/>
                        <a:pt x="38" y="34"/>
                        <a:pt x="38" y="36"/>
                      </a:cubicBezTo>
                      <a:cubicBezTo>
                        <a:pt x="38" y="37"/>
                        <a:pt x="37" y="38"/>
                        <a:pt x="37" y="39"/>
                      </a:cubicBezTo>
                      <a:cubicBezTo>
                        <a:pt x="37" y="39"/>
                        <a:pt x="35" y="43"/>
                        <a:pt x="36" y="42"/>
                      </a:cubicBezTo>
                      <a:cubicBezTo>
                        <a:pt x="36" y="41"/>
                        <a:pt x="37" y="39"/>
                        <a:pt x="38" y="39"/>
                      </a:cubicBezTo>
                      <a:cubicBezTo>
                        <a:pt x="39" y="38"/>
                        <a:pt x="39" y="40"/>
                        <a:pt x="40" y="40"/>
                      </a:cubicBezTo>
                      <a:cubicBezTo>
                        <a:pt x="41" y="41"/>
                        <a:pt x="43" y="40"/>
                        <a:pt x="45" y="40"/>
                      </a:cubicBezTo>
                      <a:cubicBezTo>
                        <a:pt x="46" y="39"/>
                        <a:pt x="48" y="41"/>
                        <a:pt x="48" y="42"/>
                      </a:cubicBezTo>
                      <a:cubicBezTo>
                        <a:pt x="49" y="43"/>
                        <a:pt x="48" y="46"/>
                        <a:pt x="47" y="47"/>
                      </a:cubicBezTo>
                      <a:cubicBezTo>
                        <a:pt x="47" y="48"/>
                        <a:pt x="46" y="50"/>
                        <a:pt x="45" y="50"/>
                      </a:cubicBezTo>
                      <a:cubicBezTo>
                        <a:pt x="44" y="50"/>
                        <a:pt x="43" y="51"/>
                        <a:pt x="43" y="52"/>
                      </a:cubicBezTo>
                      <a:cubicBezTo>
                        <a:pt x="42" y="53"/>
                        <a:pt x="41" y="54"/>
                        <a:pt x="41" y="53"/>
                      </a:cubicBezTo>
                      <a:cubicBezTo>
                        <a:pt x="40" y="52"/>
                        <a:pt x="39" y="51"/>
                        <a:pt x="40" y="50"/>
                      </a:cubicBezTo>
                      <a:cubicBezTo>
                        <a:pt x="40" y="48"/>
                        <a:pt x="39" y="48"/>
                        <a:pt x="38" y="49"/>
                      </a:cubicBezTo>
                      <a:cubicBezTo>
                        <a:pt x="38" y="50"/>
                        <a:pt x="37" y="51"/>
                        <a:pt x="37" y="53"/>
                      </a:cubicBezTo>
                      <a:cubicBezTo>
                        <a:pt x="37" y="55"/>
                        <a:pt x="38" y="56"/>
                        <a:pt x="38" y="58"/>
                      </a:cubicBezTo>
                      <a:cubicBezTo>
                        <a:pt x="37" y="60"/>
                        <a:pt x="36" y="60"/>
                        <a:pt x="35" y="61"/>
                      </a:cubicBezTo>
                      <a:cubicBezTo>
                        <a:pt x="35" y="61"/>
                        <a:pt x="31" y="60"/>
                        <a:pt x="32" y="61"/>
                      </a:cubicBezTo>
                      <a:cubicBezTo>
                        <a:pt x="33" y="62"/>
                        <a:pt x="34" y="65"/>
                        <a:pt x="33" y="65"/>
                      </a:cubicBezTo>
                      <a:cubicBezTo>
                        <a:pt x="32" y="66"/>
                        <a:pt x="31" y="67"/>
                        <a:pt x="30" y="67"/>
                      </a:cubicBezTo>
                      <a:cubicBezTo>
                        <a:pt x="29" y="66"/>
                        <a:pt x="26" y="65"/>
                        <a:pt x="27" y="66"/>
                      </a:cubicBezTo>
                      <a:cubicBezTo>
                        <a:pt x="28" y="67"/>
                        <a:pt x="31" y="68"/>
                        <a:pt x="30" y="68"/>
                      </a:cubicBezTo>
                      <a:cubicBezTo>
                        <a:pt x="29" y="69"/>
                        <a:pt x="28" y="71"/>
                        <a:pt x="29" y="71"/>
                      </a:cubicBezTo>
                      <a:cubicBezTo>
                        <a:pt x="31" y="72"/>
                        <a:pt x="33" y="72"/>
                        <a:pt x="35" y="70"/>
                      </a:cubicBezTo>
                      <a:cubicBezTo>
                        <a:pt x="37" y="68"/>
                        <a:pt x="39" y="67"/>
                        <a:pt x="40" y="68"/>
                      </a:cubicBezTo>
                      <a:cubicBezTo>
                        <a:pt x="41" y="69"/>
                        <a:pt x="41" y="72"/>
                        <a:pt x="42" y="72"/>
                      </a:cubicBezTo>
                      <a:cubicBezTo>
                        <a:pt x="43" y="71"/>
                        <a:pt x="42" y="69"/>
                        <a:pt x="43" y="69"/>
                      </a:cubicBezTo>
                      <a:cubicBezTo>
                        <a:pt x="45" y="69"/>
                        <a:pt x="46" y="72"/>
                        <a:pt x="46" y="74"/>
                      </a:cubicBezTo>
                      <a:cubicBezTo>
                        <a:pt x="47" y="75"/>
                        <a:pt x="48" y="78"/>
                        <a:pt x="48" y="80"/>
                      </a:cubicBezTo>
                      <a:cubicBezTo>
                        <a:pt x="47" y="81"/>
                        <a:pt x="45" y="82"/>
                        <a:pt x="44" y="83"/>
                      </a:cubicBezTo>
                      <a:cubicBezTo>
                        <a:pt x="43" y="85"/>
                        <a:pt x="41" y="85"/>
                        <a:pt x="40" y="85"/>
                      </a:cubicBezTo>
                      <a:cubicBezTo>
                        <a:pt x="39" y="84"/>
                        <a:pt x="37" y="83"/>
                        <a:pt x="36" y="83"/>
                      </a:cubicBezTo>
                      <a:cubicBezTo>
                        <a:pt x="34" y="83"/>
                        <a:pt x="34" y="80"/>
                        <a:pt x="33" y="81"/>
                      </a:cubicBezTo>
                      <a:cubicBezTo>
                        <a:pt x="32" y="82"/>
                        <a:pt x="31" y="78"/>
                        <a:pt x="30" y="76"/>
                      </a:cubicBezTo>
                      <a:cubicBezTo>
                        <a:pt x="30" y="75"/>
                        <a:pt x="29" y="73"/>
                        <a:pt x="28" y="72"/>
                      </a:cubicBezTo>
                      <a:cubicBezTo>
                        <a:pt x="27" y="71"/>
                        <a:pt x="27" y="70"/>
                        <a:pt x="26" y="71"/>
                      </a:cubicBezTo>
                      <a:cubicBezTo>
                        <a:pt x="26" y="72"/>
                        <a:pt x="28" y="77"/>
                        <a:pt x="28" y="78"/>
                      </a:cubicBezTo>
                      <a:cubicBezTo>
                        <a:pt x="28" y="79"/>
                        <a:pt x="26" y="81"/>
                        <a:pt x="25" y="82"/>
                      </a:cubicBezTo>
                      <a:cubicBezTo>
                        <a:pt x="24" y="83"/>
                        <a:pt x="24" y="85"/>
                        <a:pt x="25" y="85"/>
                      </a:cubicBezTo>
                      <a:cubicBezTo>
                        <a:pt x="26" y="85"/>
                        <a:pt x="27" y="85"/>
                        <a:pt x="28" y="86"/>
                      </a:cubicBezTo>
                      <a:cubicBezTo>
                        <a:pt x="29" y="87"/>
                        <a:pt x="30" y="89"/>
                        <a:pt x="30" y="89"/>
                      </a:cubicBezTo>
                      <a:cubicBezTo>
                        <a:pt x="29" y="90"/>
                        <a:pt x="29" y="91"/>
                        <a:pt x="29" y="91"/>
                      </a:cubicBezTo>
                      <a:cubicBezTo>
                        <a:pt x="28" y="91"/>
                        <a:pt x="28" y="91"/>
                        <a:pt x="27" y="90"/>
                      </a:cubicBezTo>
                      <a:cubicBezTo>
                        <a:pt x="25" y="88"/>
                        <a:pt x="24" y="91"/>
                        <a:pt x="22" y="91"/>
                      </a:cubicBezTo>
                      <a:cubicBezTo>
                        <a:pt x="20" y="91"/>
                        <a:pt x="18" y="88"/>
                        <a:pt x="15" y="88"/>
                      </a:cubicBezTo>
                      <a:cubicBezTo>
                        <a:pt x="14" y="88"/>
                        <a:pt x="12" y="88"/>
                        <a:pt x="11" y="89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8" name="Freeform 169">
                  <a:extLst>
                    <a:ext uri="{FF2B5EF4-FFF2-40B4-BE49-F238E27FC236}">
                      <a16:creationId xmlns:a16="http://schemas.microsoft.com/office/drawing/2014/main" id="{089FA8A7-57A5-E459-3900-5DAA16D024E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775076" y="4149725"/>
                  <a:ext cx="33338" cy="36513"/>
                </a:xfrm>
                <a:custGeom>
                  <a:avLst/>
                  <a:gdLst>
                    <a:gd name="T0" fmla="*/ 5 w 8"/>
                    <a:gd name="T1" fmla="*/ 1 h 9"/>
                    <a:gd name="T2" fmla="*/ 1 w 8"/>
                    <a:gd name="T3" fmla="*/ 1 h 9"/>
                    <a:gd name="T4" fmla="*/ 1 w 8"/>
                    <a:gd name="T5" fmla="*/ 4 h 9"/>
                    <a:gd name="T6" fmla="*/ 6 w 8"/>
                    <a:gd name="T7" fmla="*/ 8 h 9"/>
                    <a:gd name="T8" fmla="*/ 8 w 8"/>
                    <a:gd name="T9" fmla="*/ 3 h 9"/>
                    <a:gd name="T10" fmla="*/ 5 w 8"/>
                    <a:gd name="T11" fmla="*/ 1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9">
                      <a:moveTo>
                        <a:pt x="5" y="1"/>
                      </a:moveTo>
                      <a:cubicBezTo>
                        <a:pt x="3" y="0"/>
                        <a:pt x="2" y="0"/>
                        <a:pt x="1" y="1"/>
                      </a:cubicBezTo>
                      <a:cubicBezTo>
                        <a:pt x="1" y="2"/>
                        <a:pt x="0" y="3"/>
                        <a:pt x="1" y="4"/>
                      </a:cubicBezTo>
                      <a:cubicBezTo>
                        <a:pt x="3" y="6"/>
                        <a:pt x="4" y="7"/>
                        <a:pt x="6" y="8"/>
                      </a:cubicBezTo>
                      <a:cubicBezTo>
                        <a:pt x="7" y="9"/>
                        <a:pt x="8" y="4"/>
                        <a:pt x="8" y="3"/>
                      </a:cubicBezTo>
                      <a:cubicBezTo>
                        <a:pt x="8" y="2"/>
                        <a:pt x="6" y="0"/>
                        <a:pt x="5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9" name="Freeform 170">
                  <a:extLst>
                    <a:ext uri="{FF2B5EF4-FFF2-40B4-BE49-F238E27FC236}">
                      <a16:creationId xmlns:a16="http://schemas.microsoft.com/office/drawing/2014/main" id="{58D7DE1F-2840-ECBC-0A40-E7DA4BDAE7D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21064" y="4165600"/>
                  <a:ext cx="33338" cy="38100"/>
                </a:xfrm>
                <a:custGeom>
                  <a:avLst/>
                  <a:gdLst>
                    <a:gd name="T0" fmla="*/ 1 w 8"/>
                    <a:gd name="T1" fmla="*/ 2 h 9"/>
                    <a:gd name="T2" fmla="*/ 4 w 8"/>
                    <a:gd name="T3" fmla="*/ 3 h 9"/>
                    <a:gd name="T4" fmla="*/ 7 w 8"/>
                    <a:gd name="T5" fmla="*/ 6 h 9"/>
                    <a:gd name="T6" fmla="*/ 4 w 8"/>
                    <a:gd name="T7" fmla="*/ 8 h 9"/>
                    <a:gd name="T8" fmla="*/ 1 w 8"/>
                    <a:gd name="T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9">
                      <a:moveTo>
                        <a:pt x="1" y="2"/>
                      </a:moveTo>
                      <a:cubicBezTo>
                        <a:pt x="1" y="0"/>
                        <a:pt x="3" y="2"/>
                        <a:pt x="4" y="3"/>
                      </a:cubicBezTo>
                      <a:cubicBezTo>
                        <a:pt x="6" y="4"/>
                        <a:pt x="8" y="5"/>
                        <a:pt x="7" y="6"/>
                      </a:cubicBezTo>
                      <a:cubicBezTo>
                        <a:pt x="6" y="8"/>
                        <a:pt x="5" y="9"/>
                        <a:pt x="4" y="8"/>
                      </a:cubicBezTo>
                      <a:cubicBezTo>
                        <a:pt x="3" y="6"/>
                        <a:pt x="0" y="3"/>
                        <a:pt x="1" y="2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0" name="Freeform 171">
                  <a:extLst>
                    <a:ext uri="{FF2B5EF4-FFF2-40B4-BE49-F238E27FC236}">
                      <a16:creationId xmlns:a16="http://schemas.microsoft.com/office/drawing/2014/main" id="{69CB5A9D-32B7-4B38-8BD8-E1D2623CD4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75039" y="4062413"/>
                  <a:ext cx="12700" cy="23813"/>
                </a:xfrm>
                <a:custGeom>
                  <a:avLst/>
                  <a:gdLst>
                    <a:gd name="T0" fmla="*/ 1 w 3"/>
                    <a:gd name="T1" fmla="*/ 1 h 6"/>
                    <a:gd name="T2" fmla="*/ 1 w 3"/>
                    <a:gd name="T3" fmla="*/ 5 h 6"/>
                    <a:gd name="T4" fmla="*/ 3 w 3"/>
                    <a:gd name="T5" fmla="*/ 3 h 6"/>
                    <a:gd name="T6" fmla="*/ 1 w 3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1" y="1"/>
                      </a:moveTo>
                      <a:cubicBezTo>
                        <a:pt x="2" y="2"/>
                        <a:pt x="0" y="4"/>
                        <a:pt x="1" y="5"/>
                      </a:cubicBezTo>
                      <a:cubicBezTo>
                        <a:pt x="2" y="6"/>
                        <a:pt x="3" y="5"/>
                        <a:pt x="3" y="3"/>
                      </a:cubicBezTo>
                      <a:cubicBezTo>
                        <a:pt x="3" y="2"/>
                        <a:pt x="1" y="0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1" name="Freeform 172">
                  <a:extLst>
                    <a:ext uri="{FF2B5EF4-FFF2-40B4-BE49-F238E27FC236}">
                      <a16:creationId xmlns:a16="http://schemas.microsoft.com/office/drawing/2014/main" id="{53B1DFED-2F73-DC78-9AB7-2C104107D41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87739" y="4170363"/>
                  <a:ext cx="20638" cy="46038"/>
                </a:xfrm>
                <a:custGeom>
                  <a:avLst/>
                  <a:gdLst>
                    <a:gd name="T0" fmla="*/ 4 w 5"/>
                    <a:gd name="T1" fmla="*/ 1 h 11"/>
                    <a:gd name="T2" fmla="*/ 0 w 5"/>
                    <a:gd name="T3" fmla="*/ 6 h 11"/>
                    <a:gd name="T4" fmla="*/ 2 w 5"/>
                    <a:gd name="T5" fmla="*/ 10 h 11"/>
                    <a:gd name="T6" fmla="*/ 4 w 5"/>
                    <a:gd name="T7" fmla="*/ 4 h 11"/>
                    <a:gd name="T8" fmla="*/ 4 w 5"/>
                    <a:gd name="T9" fmla="*/ 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1">
                      <a:moveTo>
                        <a:pt x="4" y="1"/>
                      </a:moveTo>
                      <a:cubicBezTo>
                        <a:pt x="2" y="3"/>
                        <a:pt x="1" y="4"/>
                        <a:pt x="0" y="6"/>
                      </a:cubicBezTo>
                      <a:cubicBezTo>
                        <a:pt x="0" y="9"/>
                        <a:pt x="1" y="11"/>
                        <a:pt x="2" y="10"/>
                      </a:cubicBezTo>
                      <a:cubicBezTo>
                        <a:pt x="3" y="8"/>
                        <a:pt x="4" y="6"/>
                        <a:pt x="4" y="4"/>
                      </a:cubicBezTo>
                      <a:cubicBezTo>
                        <a:pt x="5" y="3"/>
                        <a:pt x="5" y="0"/>
                        <a:pt x="4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2" name="Freeform 173">
                  <a:extLst>
                    <a:ext uri="{FF2B5EF4-FFF2-40B4-BE49-F238E27FC236}">
                      <a16:creationId xmlns:a16="http://schemas.microsoft.com/office/drawing/2014/main" id="{68333A00-3815-5B8B-4B88-DB99A5997F78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54401" y="4183063"/>
                  <a:ext cx="25400" cy="20638"/>
                </a:xfrm>
                <a:custGeom>
                  <a:avLst/>
                  <a:gdLst>
                    <a:gd name="T0" fmla="*/ 2 w 6"/>
                    <a:gd name="T1" fmla="*/ 0 h 5"/>
                    <a:gd name="T2" fmla="*/ 1 w 6"/>
                    <a:gd name="T3" fmla="*/ 2 h 5"/>
                    <a:gd name="T4" fmla="*/ 5 w 6"/>
                    <a:gd name="T5" fmla="*/ 4 h 5"/>
                    <a:gd name="T6" fmla="*/ 2 w 6"/>
                    <a:gd name="T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5">
                      <a:moveTo>
                        <a:pt x="2" y="0"/>
                      </a:moveTo>
                      <a:cubicBezTo>
                        <a:pt x="1" y="0"/>
                        <a:pt x="0" y="1"/>
                        <a:pt x="1" y="2"/>
                      </a:cubicBezTo>
                      <a:cubicBezTo>
                        <a:pt x="2" y="3"/>
                        <a:pt x="3" y="5"/>
                        <a:pt x="5" y="4"/>
                      </a:cubicBezTo>
                      <a:cubicBezTo>
                        <a:pt x="6" y="4"/>
                        <a:pt x="5" y="1"/>
                        <a:pt x="2" y="0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3" name="Freeform 174">
                  <a:extLst>
                    <a:ext uri="{FF2B5EF4-FFF2-40B4-BE49-F238E27FC236}">
                      <a16:creationId xmlns:a16="http://schemas.microsoft.com/office/drawing/2014/main" id="{0E00FBE4-07C9-120D-DB5C-6B023060935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03614" y="4040188"/>
                  <a:ext cx="125413" cy="146050"/>
                </a:xfrm>
                <a:custGeom>
                  <a:avLst/>
                  <a:gdLst>
                    <a:gd name="T0" fmla="*/ 5 w 30"/>
                    <a:gd name="T1" fmla="*/ 18 h 35"/>
                    <a:gd name="T2" fmla="*/ 1 w 30"/>
                    <a:gd name="T3" fmla="*/ 14 h 35"/>
                    <a:gd name="T4" fmla="*/ 4 w 30"/>
                    <a:gd name="T5" fmla="*/ 12 h 35"/>
                    <a:gd name="T6" fmla="*/ 8 w 30"/>
                    <a:gd name="T7" fmla="*/ 10 h 35"/>
                    <a:gd name="T8" fmla="*/ 10 w 30"/>
                    <a:gd name="T9" fmla="*/ 9 h 35"/>
                    <a:gd name="T10" fmla="*/ 10 w 30"/>
                    <a:gd name="T11" fmla="*/ 6 h 35"/>
                    <a:gd name="T12" fmla="*/ 14 w 30"/>
                    <a:gd name="T13" fmla="*/ 5 h 35"/>
                    <a:gd name="T14" fmla="*/ 14 w 30"/>
                    <a:gd name="T15" fmla="*/ 8 h 35"/>
                    <a:gd name="T16" fmla="*/ 14 w 30"/>
                    <a:gd name="T17" fmla="*/ 13 h 35"/>
                    <a:gd name="T18" fmla="*/ 17 w 30"/>
                    <a:gd name="T19" fmla="*/ 12 h 35"/>
                    <a:gd name="T20" fmla="*/ 18 w 30"/>
                    <a:gd name="T21" fmla="*/ 9 h 35"/>
                    <a:gd name="T22" fmla="*/ 18 w 30"/>
                    <a:gd name="T23" fmla="*/ 13 h 35"/>
                    <a:gd name="T24" fmla="*/ 20 w 30"/>
                    <a:gd name="T25" fmla="*/ 12 h 35"/>
                    <a:gd name="T26" fmla="*/ 18 w 30"/>
                    <a:gd name="T27" fmla="*/ 6 h 35"/>
                    <a:gd name="T28" fmla="*/ 20 w 30"/>
                    <a:gd name="T29" fmla="*/ 2 h 35"/>
                    <a:gd name="T30" fmla="*/ 23 w 30"/>
                    <a:gd name="T31" fmla="*/ 1 h 35"/>
                    <a:gd name="T32" fmla="*/ 28 w 30"/>
                    <a:gd name="T33" fmla="*/ 2 h 35"/>
                    <a:gd name="T34" fmla="*/ 29 w 30"/>
                    <a:gd name="T35" fmla="*/ 4 h 35"/>
                    <a:gd name="T36" fmla="*/ 28 w 30"/>
                    <a:gd name="T37" fmla="*/ 9 h 35"/>
                    <a:gd name="T38" fmla="*/ 28 w 30"/>
                    <a:gd name="T39" fmla="*/ 14 h 35"/>
                    <a:gd name="T40" fmla="*/ 24 w 30"/>
                    <a:gd name="T41" fmla="*/ 17 h 35"/>
                    <a:gd name="T42" fmla="*/ 23 w 30"/>
                    <a:gd name="T43" fmla="*/ 21 h 35"/>
                    <a:gd name="T44" fmla="*/ 27 w 30"/>
                    <a:gd name="T45" fmla="*/ 25 h 35"/>
                    <a:gd name="T46" fmla="*/ 25 w 30"/>
                    <a:gd name="T47" fmla="*/ 27 h 35"/>
                    <a:gd name="T48" fmla="*/ 22 w 30"/>
                    <a:gd name="T49" fmla="*/ 29 h 35"/>
                    <a:gd name="T50" fmla="*/ 23 w 30"/>
                    <a:gd name="T51" fmla="*/ 33 h 35"/>
                    <a:gd name="T52" fmla="*/ 25 w 30"/>
                    <a:gd name="T53" fmla="*/ 32 h 35"/>
                    <a:gd name="T54" fmla="*/ 28 w 30"/>
                    <a:gd name="T55" fmla="*/ 32 h 35"/>
                    <a:gd name="T56" fmla="*/ 27 w 30"/>
                    <a:gd name="T57" fmla="*/ 35 h 35"/>
                    <a:gd name="T58" fmla="*/ 22 w 30"/>
                    <a:gd name="T59" fmla="*/ 34 h 35"/>
                    <a:gd name="T60" fmla="*/ 18 w 30"/>
                    <a:gd name="T61" fmla="*/ 34 h 35"/>
                    <a:gd name="T62" fmla="*/ 14 w 30"/>
                    <a:gd name="T63" fmla="*/ 31 h 35"/>
                    <a:gd name="T64" fmla="*/ 10 w 30"/>
                    <a:gd name="T65" fmla="*/ 28 h 35"/>
                    <a:gd name="T66" fmla="*/ 7 w 30"/>
                    <a:gd name="T67" fmla="*/ 27 h 35"/>
                    <a:gd name="T68" fmla="*/ 4 w 30"/>
                    <a:gd name="T69" fmla="*/ 23 h 35"/>
                    <a:gd name="T70" fmla="*/ 5 w 30"/>
                    <a:gd name="T71" fmla="*/ 18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0" h="35">
                      <a:moveTo>
                        <a:pt x="5" y="18"/>
                      </a:moveTo>
                      <a:cubicBezTo>
                        <a:pt x="4" y="16"/>
                        <a:pt x="1" y="16"/>
                        <a:pt x="1" y="14"/>
                      </a:cubicBezTo>
                      <a:cubicBezTo>
                        <a:pt x="0" y="12"/>
                        <a:pt x="2" y="12"/>
                        <a:pt x="4" y="12"/>
                      </a:cubicBezTo>
                      <a:cubicBezTo>
                        <a:pt x="6" y="12"/>
                        <a:pt x="8" y="12"/>
                        <a:pt x="8" y="10"/>
                      </a:cubicBezTo>
                      <a:cubicBezTo>
                        <a:pt x="9" y="9"/>
                        <a:pt x="9" y="9"/>
                        <a:pt x="10" y="9"/>
                      </a:cubicBezTo>
                      <a:cubicBezTo>
                        <a:pt x="11" y="8"/>
                        <a:pt x="11" y="6"/>
                        <a:pt x="10" y="6"/>
                      </a:cubicBezTo>
                      <a:cubicBezTo>
                        <a:pt x="9" y="5"/>
                        <a:pt x="13" y="6"/>
                        <a:pt x="14" y="5"/>
                      </a:cubicBezTo>
                      <a:cubicBezTo>
                        <a:pt x="15" y="5"/>
                        <a:pt x="15" y="6"/>
                        <a:pt x="14" y="8"/>
                      </a:cubicBezTo>
                      <a:cubicBezTo>
                        <a:pt x="13" y="9"/>
                        <a:pt x="13" y="11"/>
                        <a:pt x="14" y="13"/>
                      </a:cubicBezTo>
                      <a:cubicBezTo>
                        <a:pt x="15" y="15"/>
                        <a:pt x="16" y="14"/>
                        <a:pt x="17" y="12"/>
                      </a:cubicBezTo>
                      <a:cubicBezTo>
                        <a:pt x="17" y="10"/>
                        <a:pt x="18" y="7"/>
                        <a:pt x="18" y="9"/>
                      </a:cubicBezTo>
                      <a:cubicBezTo>
                        <a:pt x="19" y="10"/>
                        <a:pt x="17" y="13"/>
                        <a:pt x="18" y="13"/>
                      </a:cubicBezTo>
                      <a:cubicBezTo>
                        <a:pt x="19" y="14"/>
                        <a:pt x="20" y="14"/>
                        <a:pt x="20" y="12"/>
                      </a:cubicBezTo>
                      <a:cubicBezTo>
                        <a:pt x="20" y="10"/>
                        <a:pt x="20" y="9"/>
                        <a:pt x="18" y="6"/>
                      </a:cubicBezTo>
                      <a:cubicBezTo>
                        <a:pt x="17" y="3"/>
                        <a:pt x="18" y="2"/>
                        <a:pt x="20" y="2"/>
                      </a:cubicBezTo>
                      <a:cubicBezTo>
                        <a:pt x="21" y="1"/>
                        <a:pt x="21" y="1"/>
                        <a:pt x="23" y="1"/>
                      </a:cubicBezTo>
                      <a:cubicBezTo>
                        <a:pt x="25" y="0"/>
                        <a:pt x="26" y="1"/>
                        <a:pt x="28" y="2"/>
                      </a:cubicBezTo>
                      <a:cubicBezTo>
                        <a:pt x="29" y="3"/>
                        <a:pt x="30" y="3"/>
                        <a:pt x="29" y="4"/>
                      </a:cubicBezTo>
                      <a:cubicBezTo>
                        <a:pt x="28" y="6"/>
                        <a:pt x="28" y="6"/>
                        <a:pt x="28" y="9"/>
                      </a:cubicBezTo>
                      <a:cubicBezTo>
                        <a:pt x="29" y="11"/>
                        <a:pt x="30" y="14"/>
                        <a:pt x="28" y="14"/>
                      </a:cubicBezTo>
                      <a:cubicBezTo>
                        <a:pt x="27" y="15"/>
                        <a:pt x="25" y="15"/>
                        <a:pt x="24" y="17"/>
                      </a:cubicBezTo>
                      <a:cubicBezTo>
                        <a:pt x="23" y="19"/>
                        <a:pt x="21" y="20"/>
                        <a:pt x="23" y="21"/>
                      </a:cubicBezTo>
                      <a:cubicBezTo>
                        <a:pt x="26" y="21"/>
                        <a:pt x="26" y="23"/>
                        <a:pt x="27" y="25"/>
                      </a:cubicBezTo>
                      <a:cubicBezTo>
                        <a:pt x="27" y="26"/>
                        <a:pt x="27" y="26"/>
                        <a:pt x="25" y="27"/>
                      </a:cubicBezTo>
                      <a:cubicBezTo>
                        <a:pt x="23" y="28"/>
                        <a:pt x="22" y="26"/>
                        <a:pt x="22" y="29"/>
                      </a:cubicBezTo>
                      <a:cubicBezTo>
                        <a:pt x="22" y="32"/>
                        <a:pt x="23" y="32"/>
                        <a:pt x="23" y="33"/>
                      </a:cubicBezTo>
                      <a:cubicBezTo>
                        <a:pt x="23" y="34"/>
                        <a:pt x="23" y="33"/>
                        <a:pt x="25" y="32"/>
                      </a:cubicBezTo>
                      <a:cubicBezTo>
                        <a:pt x="26" y="32"/>
                        <a:pt x="27" y="31"/>
                        <a:pt x="28" y="32"/>
                      </a:cubicBezTo>
                      <a:cubicBezTo>
                        <a:pt x="29" y="34"/>
                        <a:pt x="28" y="35"/>
                        <a:pt x="27" y="35"/>
                      </a:cubicBezTo>
                      <a:cubicBezTo>
                        <a:pt x="25" y="35"/>
                        <a:pt x="24" y="33"/>
                        <a:pt x="22" y="34"/>
                      </a:cubicBezTo>
                      <a:cubicBezTo>
                        <a:pt x="21" y="35"/>
                        <a:pt x="21" y="35"/>
                        <a:pt x="18" y="34"/>
                      </a:cubicBezTo>
                      <a:cubicBezTo>
                        <a:pt x="16" y="33"/>
                        <a:pt x="14" y="33"/>
                        <a:pt x="14" y="31"/>
                      </a:cubicBezTo>
                      <a:cubicBezTo>
                        <a:pt x="14" y="28"/>
                        <a:pt x="11" y="27"/>
                        <a:pt x="10" y="28"/>
                      </a:cubicBezTo>
                      <a:cubicBezTo>
                        <a:pt x="9" y="29"/>
                        <a:pt x="7" y="29"/>
                        <a:pt x="7" y="27"/>
                      </a:cubicBezTo>
                      <a:cubicBezTo>
                        <a:pt x="6" y="25"/>
                        <a:pt x="4" y="26"/>
                        <a:pt x="4" y="23"/>
                      </a:cubicBezTo>
                      <a:cubicBezTo>
                        <a:pt x="4" y="21"/>
                        <a:pt x="6" y="19"/>
                        <a:pt x="5" y="18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4" name="Freeform 175">
                  <a:extLst>
                    <a:ext uri="{FF2B5EF4-FFF2-40B4-BE49-F238E27FC236}">
                      <a16:creationId xmlns:a16="http://schemas.microsoft.com/office/drawing/2014/main" id="{78C2140B-AC9F-80BE-FC7D-743C7357F3B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67114" y="4183063"/>
                  <a:ext cx="33338" cy="49213"/>
                </a:xfrm>
                <a:custGeom>
                  <a:avLst/>
                  <a:gdLst>
                    <a:gd name="T0" fmla="*/ 1 w 8"/>
                    <a:gd name="T1" fmla="*/ 1 h 12"/>
                    <a:gd name="T2" fmla="*/ 1 w 8"/>
                    <a:gd name="T3" fmla="*/ 3 h 12"/>
                    <a:gd name="T4" fmla="*/ 2 w 8"/>
                    <a:gd name="T5" fmla="*/ 7 h 12"/>
                    <a:gd name="T6" fmla="*/ 4 w 8"/>
                    <a:gd name="T7" fmla="*/ 12 h 12"/>
                    <a:gd name="T8" fmla="*/ 6 w 8"/>
                    <a:gd name="T9" fmla="*/ 7 h 12"/>
                    <a:gd name="T10" fmla="*/ 7 w 8"/>
                    <a:gd name="T11" fmla="*/ 3 h 12"/>
                    <a:gd name="T12" fmla="*/ 3 w 8"/>
                    <a:gd name="T13" fmla="*/ 1 h 12"/>
                    <a:gd name="T14" fmla="*/ 1 w 8"/>
                    <a:gd name="T15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12">
                      <a:moveTo>
                        <a:pt x="1" y="1"/>
                      </a:moveTo>
                      <a:cubicBezTo>
                        <a:pt x="0" y="1"/>
                        <a:pt x="0" y="1"/>
                        <a:pt x="1" y="3"/>
                      </a:cubicBezTo>
                      <a:cubicBezTo>
                        <a:pt x="1" y="4"/>
                        <a:pt x="2" y="5"/>
                        <a:pt x="2" y="7"/>
                      </a:cubicBezTo>
                      <a:cubicBezTo>
                        <a:pt x="2" y="10"/>
                        <a:pt x="3" y="12"/>
                        <a:pt x="4" y="12"/>
                      </a:cubicBezTo>
                      <a:cubicBezTo>
                        <a:pt x="4" y="11"/>
                        <a:pt x="5" y="8"/>
                        <a:pt x="6" y="7"/>
                      </a:cubicBezTo>
                      <a:cubicBezTo>
                        <a:pt x="7" y="5"/>
                        <a:pt x="8" y="4"/>
                        <a:pt x="7" y="3"/>
                      </a:cubicBezTo>
                      <a:cubicBezTo>
                        <a:pt x="5" y="2"/>
                        <a:pt x="3" y="3"/>
                        <a:pt x="3" y="1"/>
                      </a:cubicBezTo>
                      <a:cubicBezTo>
                        <a:pt x="3" y="0"/>
                        <a:pt x="3" y="0"/>
                        <a:pt x="1" y="1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5" name="Freeform 176">
                  <a:extLst>
                    <a:ext uri="{FF2B5EF4-FFF2-40B4-BE49-F238E27FC236}">
                      <a16:creationId xmlns:a16="http://schemas.microsoft.com/office/drawing/2014/main" id="{5BC5AAA0-63CE-8D7E-CA01-1DD32229AB2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13139" y="4186238"/>
                  <a:ext cx="61913" cy="38100"/>
                </a:xfrm>
                <a:custGeom>
                  <a:avLst/>
                  <a:gdLst>
                    <a:gd name="T0" fmla="*/ 12 w 15"/>
                    <a:gd name="T1" fmla="*/ 2 h 9"/>
                    <a:gd name="T2" fmla="*/ 7 w 15"/>
                    <a:gd name="T3" fmla="*/ 2 h 9"/>
                    <a:gd name="T4" fmla="*/ 3 w 15"/>
                    <a:gd name="T5" fmla="*/ 0 h 9"/>
                    <a:gd name="T6" fmla="*/ 1 w 15"/>
                    <a:gd name="T7" fmla="*/ 2 h 9"/>
                    <a:gd name="T8" fmla="*/ 1 w 15"/>
                    <a:gd name="T9" fmla="*/ 5 h 9"/>
                    <a:gd name="T10" fmla="*/ 6 w 15"/>
                    <a:gd name="T11" fmla="*/ 8 h 9"/>
                    <a:gd name="T12" fmla="*/ 12 w 15"/>
                    <a:gd name="T13" fmla="*/ 8 h 9"/>
                    <a:gd name="T14" fmla="*/ 15 w 15"/>
                    <a:gd name="T15" fmla="*/ 7 h 9"/>
                    <a:gd name="T16" fmla="*/ 14 w 15"/>
                    <a:gd name="T17" fmla="*/ 2 h 9"/>
                    <a:gd name="T18" fmla="*/ 12 w 15"/>
                    <a:gd name="T19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12" y="2"/>
                      </a:moveTo>
                      <a:cubicBezTo>
                        <a:pt x="11" y="3"/>
                        <a:pt x="8" y="4"/>
                        <a:pt x="7" y="2"/>
                      </a:cubicBezTo>
                      <a:cubicBezTo>
                        <a:pt x="6" y="0"/>
                        <a:pt x="5" y="0"/>
                        <a:pt x="3" y="0"/>
                      </a:cubicBezTo>
                      <a:cubicBezTo>
                        <a:pt x="2" y="0"/>
                        <a:pt x="1" y="1"/>
                        <a:pt x="1" y="2"/>
                      </a:cubicBezTo>
                      <a:cubicBezTo>
                        <a:pt x="1" y="3"/>
                        <a:pt x="0" y="3"/>
                        <a:pt x="1" y="5"/>
                      </a:cubicBezTo>
                      <a:cubicBezTo>
                        <a:pt x="1" y="6"/>
                        <a:pt x="4" y="6"/>
                        <a:pt x="6" y="8"/>
                      </a:cubicBezTo>
                      <a:cubicBezTo>
                        <a:pt x="8" y="9"/>
                        <a:pt x="10" y="8"/>
                        <a:pt x="12" y="8"/>
                      </a:cubicBezTo>
                      <a:cubicBezTo>
                        <a:pt x="13" y="8"/>
                        <a:pt x="15" y="7"/>
                        <a:pt x="15" y="7"/>
                      </a:cubicBezTo>
                      <a:cubicBezTo>
                        <a:pt x="15" y="7"/>
                        <a:pt x="14" y="3"/>
                        <a:pt x="14" y="2"/>
                      </a:cubicBezTo>
                      <a:cubicBezTo>
                        <a:pt x="13" y="1"/>
                        <a:pt x="12" y="2"/>
                        <a:pt x="12" y="2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6" name="Freeform 177">
                  <a:extLst>
                    <a:ext uri="{FF2B5EF4-FFF2-40B4-BE49-F238E27FC236}">
                      <a16:creationId xmlns:a16="http://schemas.microsoft.com/office/drawing/2014/main" id="{3771E669-0781-4F00-5107-DAE7745D4E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21051" y="4178300"/>
                  <a:ext cx="15875" cy="30163"/>
                </a:xfrm>
                <a:custGeom>
                  <a:avLst/>
                  <a:gdLst>
                    <a:gd name="T0" fmla="*/ 1 w 4"/>
                    <a:gd name="T1" fmla="*/ 1 h 7"/>
                    <a:gd name="T2" fmla="*/ 0 w 4"/>
                    <a:gd name="T3" fmla="*/ 4 h 7"/>
                    <a:gd name="T4" fmla="*/ 1 w 4"/>
                    <a:gd name="T5" fmla="*/ 6 h 7"/>
                    <a:gd name="T6" fmla="*/ 3 w 4"/>
                    <a:gd name="T7" fmla="*/ 4 h 7"/>
                    <a:gd name="T8" fmla="*/ 4 w 4"/>
                    <a:gd name="T9" fmla="*/ 3 h 7"/>
                    <a:gd name="T10" fmla="*/ 1 w 4"/>
                    <a:gd name="T11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1" y="1"/>
                      </a:moveTo>
                      <a:cubicBezTo>
                        <a:pt x="0" y="2"/>
                        <a:pt x="1" y="2"/>
                        <a:pt x="0" y="4"/>
                      </a:cubicBezTo>
                      <a:cubicBezTo>
                        <a:pt x="0" y="5"/>
                        <a:pt x="1" y="7"/>
                        <a:pt x="1" y="6"/>
                      </a:cubicBezTo>
                      <a:cubicBezTo>
                        <a:pt x="2" y="5"/>
                        <a:pt x="1" y="5"/>
                        <a:pt x="3" y="4"/>
                      </a:cubicBezTo>
                      <a:cubicBezTo>
                        <a:pt x="4" y="4"/>
                        <a:pt x="4" y="4"/>
                        <a:pt x="4" y="3"/>
                      </a:cubicBezTo>
                      <a:cubicBezTo>
                        <a:pt x="3" y="3"/>
                        <a:pt x="2" y="0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7" name="Freeform 178">
                  <a:extLst>
                    <a:ext uri="{FF2B5EF4-FFF2-40B4-BE49-F238E27FC236}">
                      <a16:creationId xmlns:a16="http://schemas.microsoft.com/office/drawing/2014/main" id="{50D43935-BDA6-B35C-7043-A39A1B1A09E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28989" y="4203700"/>
                  <a:ext cx="12700" cy="15875"/>
                </a:xfrm>
                <a:custGeom>
                  <a:avLst/>
                  <a:gdLst>
                    <a:gd name="T0" fmla="*/ 2 w 3"/>
                    <a:gd name="T1" fmla="*/ 1 h 4"/>
                    <a:gd name="T2" fmla="*/ 2 w 3"/>
                    <a:gd name="T3" fmla="*/ 4 h 4"/>
                    <a:gd name="T4" fmla="*/ 3 w 3"/>
                    <a:gd name="T5" fmla="*/ 2 h 4"/>
                    <a:gd name="T6" fmla="*/ 2 w 3"/>
                    <a:gd name="T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2" y="1"/>
                      </a:moveTo>
                      <a:cubicBezTo>
                        <a:pt x="1" y="3"/>
                        <a:pt x="0" y="4"/>
                        <a:pt x="2" y="4"/>
                      </a:cubicBezTo>
                      <a:cubicBezTo>
                        <a:pt x="3" y="3"/>
                        <a:pt x="3" y="3"/>
                        <a:pt x="3" y="2"/>
                      </a:cubicBezTo>
                      <a:cubicBezTo>
                        <a:pt x="3" y="0"/>
                        <a:pt x="2" y="0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8" name="Freeform 179">
                  <a:extLst>
                    <a:ext uri="{FF2B5EF4-FFF2-40B4-BE49-F238E27FC236}">
                      <a16:creationId xmlns:a16="http://schemas.microsoft.com/office/drawing/2014/main" id="{672A3B0D-0BAC-DB8F-53DF-1D707C20157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24226" y="4211638"/>
                  <a:ext cx="4763" cy="17463"/>
                </a:xfrm>
                <a:custGeom>
                  <a:avLst/>
                  <a:gdLst>
                    <a:gd name="T0" fmla="*/ 0 w 1"/>
                    <a:gd name="T1" fmla="*/ 2 h 4"/>
                    <a:gd name="T2" fmla="*/ 1 w 1"/>
                    <a:gd name="T3" fmla="*/ 3 h 4"/>
                    <a:gd name="T4" fmla="*/ 0 w 1"/>
                    <a:gd name="T5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2"/>
                      </a:moveTo>
                      <a:cubicBezTo>
                        <a:pt x="0" y="3"/>
                        <a:pt x="0" y="4"/>
                        <a:pt x="1" y="3"/>
                      </a:cubicBezTo>
                      <a:cubicBezTo>
                        <a:pt x="1" y="2"/>
                        <a:pt x="1" y="0"/>
                        <a:pt x="0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69" name="Freeform 190">
                  <a:extLst>
                    <a:ext uri="{FF2B5EF4-FFF2-40B4-BE49-F238E27FC236}">
                      <a16:creationId xmlns:a16="http://schemas.microsoft.com/office/drawing/2014/main" id="{C6B6E380-E26E-2277-7D78-BB2E59FA965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82964" y="4232275"/>
                  <a:ext cx="4763" cy="9525"/>
                </a:xfrm>
                <a:custGeom>
                  <a:avLst/>
                  <a:gdLst>
                    <a:gd name="T0" fmla="*/ 1 w 1"/>
                    <a:gd name="T1" fmla="*/ 2 h 2"/>
                    <a:gd name="T2" fmla="*/ 1 w 1"/>
                    <a:gd name="T3" fmla="*/ 1 h 2"/>
                    <a:gd name="T4" fmla="*/ 1 w 1"/>
                    <a:gd name="T5" fmla="*/ 0 h 2"/>
                    <a:gd name="T6" fmla="*/ 0 w 1"/>
                    <a:gd name="T7" fmla="*/ 0 h 2"/>
                    <a:gd name="T8" fmla="*/ 0 w 1"/>
                    <a:gd name="T9" fmla="*/ 1 h 2"/>
                    <a:gd name="T10" fmla="*/ 0 w 1"/>
                    <a:gd name="T11" fmla="*/ 2 h 2"/>
                    <a:gd name="T12" fmla="*/ 0 w 1"/>
                    <a:gd name="T13" fmla="*/ 2 h 2"/>
                    <a:gd name="T14" fmla="*/ 1 w 1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" h="2">
                      <a:moveTo>
                        <a:pt x="1" y="2"/>
                      </a:moveTo>
                      <a:cubicBezTo>
                        <a:pt x="1" y="2"/>
                        <a:pt x="1" y="2"/>
                        <a:pt x="1" y="1"/>
                      </a:cubicBezTo>
                      <a:cubicBezTo>
                        <a:pt x="1" y="1"/>
                        <a:pt x="1" y="1"/>
                        <a:pt x="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2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0" name="Freeform 191">
                  <a:extLst>
                    <a:ext uri="{FF2B5EF4-FFF2-40B4-BE49-F238E27FC236}">
                      <a16:creationId xmlns:a16="http://schemas.microsoft.com/office/drawing/2014/main" id="{B65FFEB1-6E76-92A5-79BA-413A905CCBED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67089" y="4229100"/>
                  <a:ext cx="7938" cy="7938"/>
                </a:xfrm>
                <a:custGeom>
                  <a:avLst/>
                  <a:gdLst>
                    <a:gd name="T0" fmla="*/ 0 w 2"/>
                    <a:gd name="T1" fmla="*/ 1 h 2"/>
                    <a:gd name="T2" fmla="*/ 0 w 2"/>
                    <a:gd name="T3" fmla="*/ 1 h 2"/>
                    <a:gd name="T4" fmla="*/ 0 w 2"/>
                    <a:gd name="T5" fmla="*/ 2 h 2"/>
                    <a:gd name="T6" fmla="*/ 1 w 2"/>
                    <a:gd name="T7" fmla="*/ 2 h 2"/>
                    <a:gd name="T8" fmla="*/ 1 w 2"/>
                    <a:gd name="T9" fmla="*/ 2 h 2"/>
                    <a:gd name="T10" fmla="*/ 2 w 2"/>
                    <a:gd name="T11" fmla="*/ 1 h 2"/>
                    <a:gd name="T12" fmla="*/ 2 w 2"/>
                    <a:gd name="T13" fmla="*/ 0 h 2"/>
                    <a:gd name="T14" fmla="*/ 1 w 2"/>
                    <a:gd name="T15" fmla="*/ 0 h 2"/>
                    <a:gd name="T16" fmla="*/ 0 w 2"/>
                    <a:gd name="T17" fmla="*/ 0 h 2"/>
                    <a:gd name="T18" fmla="*/ 0 w 2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1" y="2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2" y="2"/>
                        <a:pt x="2" y="2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1" name="Freeform 192">
                  <a:extLst>
                    <a:ext uri="{FF2B5EF4-FFF2-40B4-BE49-F238E27FC236}">
                      <a16:creationId xmlns:a16="http://schemas.microsoft.com/office/drawing/2014/main" id="{8F54A415-20C3-A22C-0C4A-60EE0C4DFB3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57564" y="4203700"/>
                  <a:ext cx="4763" cy="12700"/>
                </a:xfrm>
                <a:custGeom>
                  <a:avLst/>
                  <a:gdLst>
                    <a:gd name="T0" fmla="*/ 1 w 1"/>
                    <a:gd name="T1" fmla="*/ 2 h 3"/>
                    <a:gd name="T2" fmla="*/ 1 w 1"/>
                    <a:gd name="T3" fmla="*/ 1 h 3"/>
                    <a:gd name="T4" fmla="*/ 1 w 1"/>
                    <a:gd name="T5" fmla="*/ 0 h 3"/>
                    <a:gd name="T6" fmla="*/ 0 w 1"/>
                    <a:gd name="T7" fmla="*/ 1 h 3"/>
                    <a:gd name="T8" fmla="*/ 0 w 1"/>
                    <a:gd name="T9" fmla="*/ 1 h 3"/>
                    <a:gd name="T10" fmla="*/ 0 w 1"/>
                    <a:gd name="T11" fmla="*/ 2 h 3"/>
                    <a:gd name="T12" fmla="*/ 0 w 1"/>
                    <a:gd name="T13" fmla="*/ 2 h 3"/>
                    <a:gd name="T14" fmla="*/ 1 w 1"/>
                    <a:gd name="T15" fmla="*/ 3 h 3"/>
                    <a:gd name="T16" fmla="*/ 1 w 1"/>
                    <a:gd name="T17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" h="3">
                      <a:moveTo>
                        <a:pt x="1" y="2"/>
                      </a:move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2"/>
                        <a:pt x="1" y="2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2" name="Freeform 193">
                  <a:extLst>
                    <a:ext uri="{FF2B5EF4-FFF2-40B4-BE49-F238E27FC236}">
                      <a16:creationId xmlns:a16="http://schemas.microsoft.com/office/drawing/2014/main" id="{E994CC36-FB11-0354-B357-1098B6D289A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49626" y="4208463"/>
                  <a:ext cx="7938" cy="15875"/>
                </a:xfrm>
                <a:custGeom>
                  <a:avLst/>
                  <a:gdLst>
                    <a:gd name="T0" fmla="*/ 1 w 2"/>
                    <a:gd name="T1" fmla="*/ 1 h 4"/>
                    <a:gd name="T2" fmla="*/ 0 w 2"/>
                    <a:gd name="T3" fmla="*/ 0 h 4"/>
                    <a:gd name="T4" fmla="*/ 0 w 2"/>
                    <a:gd name="T5" fmla="*/ 1 h 4"/>
                    <a:gd name="T6" fmla="*/ 0 w 2"/>
                    <a:gd name="T7" fmla="*/ 2 h 4"/>
                    <a:gd name="T8" fmla="*/ 0 w 2"/>
                    <a:gd name="T9" fmla="*/ 3 h 4"/>
                    <a:gd name="T10" fmla="*/ 0 w 2"/>
                    <a:gd name="T11" fmla="*/ 4 h 4"/>
                    <a:gd name="T12" fmla="*/ 1 w 2"/>
                    <a:gd name="T13" fmla="*/ 4 h 4"/>
                    <a:gd name="T14" fmla="*/ 2 w 2"/>
                    <a:gd name="T15" fmla="*/ 4 h 4"/>
                    <a:gd name="T16" fmla="*/ 2 w 2"/>
                    <a:gd name="T17" fmla="*/ 3 h 4"/>
                    <a:gd name="T18" fmla="*/ 2 w 2"/>
                    <a:gd name="T19" fmla="*/ 3 h 4"/>
                    <a:gd name="T20" fmla="*/ 1 w 2"/>
                    <a:gd name="T21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" h="4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0" y="2"/>
                        <a:pt x="0" y="2"/>
                        <a:pt x="0" y="3"/>
                      </a:cubicBezTo>
                      <a:cubicBezTo>
                        <a:pt x="0" y="3"/>
                        <a:pt x="0" y="4"/>
                        <a:pt x="0" y="4"/>
                      </a:cubicBezTo>
                      <a:cubicBezTo>
                        <a:pt x="0" y="4"/>
                        <a:pt x="1" y="4"/>
                        <a:pt x="1" y="4"/>
                      </a:cubicBezTo>
                      <a:cubicBezTo>
                        <a:pt x="1" y="4"/>
                        <a:pt x="2" y="4"/>
                        <a:pt x="2" y="4"/>
                      </a:cubicBezTo>
                      <a:cubicBezTo>
                        <a:pt x="2" y="4"/>
                        <a:pt x="2" y="3"/>
                        <a:pt x="2" y="3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2"/>
                        <a:pt x="1" y="2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73" name="Freeform 194">
                  <a:extLst>
                    <a:ext uri="{FF2B5EF4-FFF2-40B4-BE49-F238E27FC236}">
                      <a16:creationId xmlns:a16="http://schemas.microsoft.com/office/drawing/2014/main" id="{31C07856-B647-DE57-2D25-79316D51BE8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44864" y="4149725"/>
                  <a:ext cx="22225" cy="49213"/>
                </a:xfrm>
                <a:custGeom>
                  <a:avLst/>
                  <a:gdLst>
                    <a:gd name="T0" fmla="*/ 1 w 5"/>
                    <a:gd name="T1" fmla="*/ 12 h 12"/>
                    <a:gd name="T2" fmla="*/ 1 w 5"/>
                    <a:gd name="T3" fmla="*/ 10 h 12"/>
                    <a:gd name="T4" fmla="*/ 2 w 5"/>
                    <a:gd name="T5" fmla="*/ 8 h 12"/>
                    <a:gd name="T6" fmla="*/ 2 w 5"/>
                    <a:gd name="T7" fmla="*/ 6 h 12"/>
                    <a:gd name="T8" fmla="*/ 3 w 5"/>
                    <a:gd name="T9" fmla="*/ 7 h 12"/>
                    <a:gd name="T10" fmla="*/ 4 w 5"/>
                    <a:gd name="T11" fmla="*/ 7 h 12"/>
                    <a:gd name="T12" fmla="*/ 4 w 5"/>
                    <a:gd name="T13" fmla="*/ 7 h 12"/>
                    <a:gd name="T14" fmla="*/ 4 w 5"/>
                    <a:gd name="T15" fmla="*/ 5 h 12"/>
                    <a:gd name="T16" fmla="*/ 4 w 5"/>
                    <a:gd name="T17" fmla="*/ 4 h 12"/>
                    <a:gd name="T18" fmla="*/ 4 w 5"/>
                    <a:gd name="T19" fmla="*/ 3 h 12"/>
                    <a:gd name="T20" fmla="*/ 5 w 5"/>
                    <a:gd name="T21" fmla="*/ 2 h 12"/>
                    <a:gd name="T22" fmla="*/ 5 w 5"/>
                    <a:gd name="T23" fmla="*/ 1 h 12"/>
                    <a:gd name="T24" fmla="*/ 4 w 5"/>
                    <a:gd name="T25" fmla="*/ 0 h 12"/>
                    <a:gd name="T26" fmla="*/ 4 w 5"/>
                    <a:gd name="T27" fmla="*/ 0 h 12"/>
                    <a:gd name="T28" fmla="*/ 4 w 5"/>
                    <a:gd name="T29" fmla="*/ 1 h 12"/>
                    <a:gd name="T30" fmla="*/ 4 w 5"/>
                    <a:gd name="T31" fmla="*/ 2 h 12"/>
                    <a:gd name="T32" fmla="*/ 3 w 5"/>
                    <a:gd name="T33" fmla="*/ 3 h 12"/>
                    <a:gd name="T34" fmla="*/ 1 w 5"/>
                    <a:gd name="T35" fmla="*/ 5 h 12"/>
                    <a:gd name="T36" fmla="*/ 1 w 5"/>
                    <a:gd name="T37" fmla="*/ 7 h 12"/>
                    <a:gd name="T38" fmla="*/ 0 w 5"/>
                    <a:gd name="T39" fmla="*/ 9 h 12"/>
                    <a:gd name="T40" fmla="*/ 0 w 5"/>
                    <a:gd name="T41" fmla="*/ 12 h 12"/>
                    <a:gd name="T42" fmla="*/ 1 w 5"/>
                    <a:gd name="T43" fmla="*/ 12 h 12"/>
                    <a:gd name="T44" fmla="*/ 1 w 5"/>
                    <a:gd name="T4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5" h="12">
                      <a:moveTo>
                        <a:pt x="1" y="12"/>
                      </a:moveTo>
                      <a:cubicBezTo>
                        <a:pt x="1" y="11"/>
                        <a:pt x="1" y="11"/>
                        <a:pt x="1" y="10"/>
                      </a:cubicBezTo>
                      <a:cubicBezTo>
                        <a:pt x="1" y="9"/>
                        <a:pt x="1" y="9"/>
                        <a:pt x="2" y="8"/>
                      </a:cubicBezTo>
                      <a:cubicBezTo>
                        <a:pt x="2" y="7"/>
                        <a:pt x="2" y="7"/>
                        <a:pt x="2" y="6"/>
                      </a:cubicBezTo>
                      <a:cubicBezTo>
                        <a:pt x="3" y="6"/>
                        <a:pt x="3" y="6"/>
                        <a:pt x="3" y="7"/>
                      </a:cubicBezTo>
                      <a:cubicBezTo>
                        <a:pt x="3" y="7"/>
                        <a:pt x="4" y="7"/>
                        <a:pt x="4" y="7"/>
                      </a:cubicBezTo>
                      <a:cubicBezTo>
                        <a:pt x="4" y="7"/>
                        <a:pt x="4" y="7"/>
                        <a:pt x="4" y="7"/>
                      </a:cubicBezTo>
                      <a:cubicBezTo>
                        <a:pt x="4" y="6"/>
                        <a:pt x="4" y="6"/>
                        <a:pt x="4" y="5"/>
                      </a:cubicBezTo>
                      <a:cubicBezTo>
                        <a:pt x="4" y="5"/>
                        <a:pt x="4" y="5"/>
                        <a:pt x="4" y="4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2"/>
                        <a:pt x="5" y="2"/>
                        <a:pt x="5" y="2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1"/>
                        <a:pt x="4" y="1"/>
                      </a:cubicBezTo>
                      <a:cubicBezTo>
                        <a:pt x="4" y="1"/>
                        <a:pt x="4" y="2"/>
                        <a:pt x="4" y="2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2" y="4"/>
                        <a:pt x="2" y="4"/>
                        <a:pt x="1" y="5"/>
                      </a:cubicBezTo>
                      <a:cubicBezTo>
                        <a:pt x="1" y="6"/>
                        <a:pt x="1" y="6"/>
                        <a:pt x="1" y="7"/>
                      </a:cubicBezTo>
                      <a:cubicBezTo>
                        <a:pt x="0" y="8"/>
                        <a:pt x="0" y="8"/>
                        <a:pt x="0" y="9"/>
                      </a:cubicBezTo>
                      <a:cubicBezTo>
                        <a:pt x="0" y="10"/>
                        <a:pt x="0" y="11"/>
                        <a:pt x="0" y="12"/>
                      </a:cubicBezTo>
                      <a:cubicBezTo>
                        <a:pt x="0" y="12"/>
                        <a:pt x="0" y="12"/>
                        <a:pt x="1" y="12"/>
                      </a:cubicBezTo>
                      <a:cubicBezTo>
                        <a:pt x="1" y="12"/>
                        <a:pt x="1" y="12"/>
                        <a:pt x="1" y="1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20" name="Freeform 196">
                <a:extLst>
                  <a:ext uri="{FF2B5EF4-FFF2-40B4-BE49-F238E27FC236}">
                    <a16:creationId xmlns:a16="http://schemas.microsoft.com/office/drawing/2014/main" id="{506984F4-5C78-419E-54DB-BFF9236371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8616" y="4144584"/>
                <a:ext cx="771743" cy="579192"/>
              </a:xfrm>
              <a:custGeom>
                <a:avLst/>
                <a:gdLst>
                  <a:gd name="T0" fmla="*/ 178 w 191"/>
                  <a:gd name="T1" fmla="*/ 82 h 143"/>
                  <a:gd name="T2" fmla="*/ 170 w 191"/>
                  <a:gd name="T3" fmla="*/ 66 h 143"/>
                  <a:gd name="T4" fmla="*/ 182 w 191"/>
                  <a:gd name="T5" fmla="*/ 53 h 143"/>
                  <a:gd name="T6" fmla="*/ 174 w 191"/>
                  <a:gd name="T7" fmla="*/ 26 h 143"/>
                  <a:gd name="T8" fmla="*/ 163 w 191"/>
                  <a:gd name="T9" fmla="*/ 13 h 143"/>
                  <a:gd name="T10" fmla="*/ 136 w 191"/>
                  <a:gd name="T11" fmla="*/ 14 h 143"/>
                  <a:gd name="T12" fmla="*/ 100 w 191"/>
                  <a:gd name="T13" fmla="*/ 16 h 143"/>
                  <a:gd name="T14" fmla="*/ 88 w 191"/>
                  <a:gd name="T15" fmla="*/ 10 h 143"/>
                  <a:gd name="T16" fmla="*/ 90 w 191"/>
                  <a:gd name="T17" fmla="*/ 5 h 143"/>
                  <a:gd name="T18" fmla="*/ 65 w 191"/>
                  <a:gd name="T19" fmla="*/ 4 h 143"/>
                  <a:gd name="T20" fmla="*/ 47 w 191"/>
                  <a:gd name="T21" fmla="*/ 15 h 143"/>
                  <a:gd name="T22" fmla="*/ 21 w 191"/>
                  <a:gd name="T23" fmla="*/ 23 h 143"/>
                  <a:gd name="T24" fmla="*/ 6 w 191"/>
                  <a:gd name="T25" fmla="*/ 28 h 143"/>
                  <a:gd name="T26" fmla="*/ 4 w 191"/>
                  <a:gd name="T27" fmla="*/ 29 h 143"/>
                  <a:gd name="T28" fmla="*/ 2 w 191"/>
                  <a:gd name="T29" fmla="*/ 28 h 143"/>
                  <a:gd name="T30" fmla="*/ 0 w 191"/>
                  <a:gd name="T31" fmla="*/ 27 h 143"/>
                  <a:gd name="T32" fmla="*/ 1 w 191"/>
                  <a:gd name="T33" fmla="*/ 29 h 143"/>
                  <a:gd name="T34" fmla="*/ 2 w 191"/>
                  <a:gd name="T35" fmla="*/ 31 h 143"/>
                  <a:gd name="T36" fmla="*/ 4 w 191"/>
                  <a:gd name="T37" fmla="*/ 31 h 143"/>
                  <a:gd name="T38" fmla="*/ 6 w 191"/>
                  <a:gd name="T39" fmla="*/ 32 h 143"/>
                  <a:gd name="T40" fmla="*/ 8 w 191"/>
                  <a:gd name="T41" fmla="*/ 33 h 143"/>
                  <a:gd name="T42" fmla="*/ 8 w 191"/>
                  <a:gd name="T43" fmla="*/ 36 h 143"/>
                  <a:gd name="T44" fmla="*/ 9 w 191"/>
                  <a:gd name="T45" fmla="*/ 40 h 143"/>
                  <a:gd name="T46" fmla="*/ 9 w 191"/>
                  <a:gd name="T47" fmla="*/ 43 h 143"/>
                  <a:gd name="T48" fmla="*/ 11 w 191"/>
                  <a:gd name="T49" fmla="*/ 46 h 143"/>
                  <a:gd name="T50" fmla="*/ 8 w 191"/>
                  <a:gd name="T51" fmla="*/ 51 h 143"/>
                  <a:gd name="T52" fmla="*/ 6 w 191"/>
                  <a:gd name="T53" fmla="*/ 54 h 143"/>
                  <a:gd name="T54" fmla="*/ 5 w 191"/>
                  <a:gd name="T55" fmla="*/ 56 h 143"/>
                  <a:gd name="T56" fmla="*/ 9 w 191"/>
                  <a:gd name="T57" fmla="*/ 58 h 143"/>
                  <a:gd name="T58" fmla="*/ 11 w 191"/>
                  <a:gd name="T59" fmla="*/ 60 h 143"/>
                  <a:gd name="T60" fmla="*/ 13 w 191"/>
                  <a:gd name="T61" fmla="*/ 63 h 143"/>
                  <a:gd name="T62" fmla="*/ 14 w 191"/>
                  <a:gd name="T63" fmla="*/ 65 h 143"/>
                  <a:gd name="T64" fmla="*/ 13 w 191"/>
                  <a:gd name="T65" fmla="*/ 67 h 143"/>
                  <a:gd name="T66" fmla="*/ 13 w 191"/>
                  <a:gd name="T67" fmla="*/ 70 h 143"/>
                  <a:gd name="T68" fmla="*/ 15 w 191"/>
                  <a:gd name="T69" fmla="*/ 72 h 143"/>
                  <a:gd name="T70" fmla="*/ 16 w 191"/>
                  <a:gd name="T71" fmla="*/ 76 h 143"/>
                  <a:gd name="T72" fmla="*/ 15 w 191"/>
                  <a:gd name="T73" fmla="*/ 78 h 143"/>
                  <a:gd name="T74" fmla="*/ 15 w 191"/>
                  <a:gd name="T75" fmla="*/ 81 h 143"/>
                  <a:gd name="T76" fmla="*/ 14 w 191"/>
                  <a:gd name="T77" fmla="*/ 83 h 143"/>
                  <a:gd name="T78" fmla="*/ 15 w 191"/>
                  <a:gd name="T79" fmla="*/ 85 h 143"/>
                  <a:gd name="T80" fmla="*/ 16 w 191"/>
                  <a:gd name="T81" fmla="*/ 86 h 143"/>
                  <a:gd name="T82" fmla="*/ 17 w 191"/>
                  <a:gd name="T83" fmla="*/ 87 h 143"/>
                  <a:gd name="T84" fmla="*/ 17 w 191"/>
                  <a:gd name="T85" fmla="*/ 89 h 143"/>
                  <a:gd name="T86" fmla="*/ 19 w 191"/>
                  <a:gd name="T87" fmla="*/ 91 h 143"/>
                  <a:gd name="T88" fmla="*/ 20 w 191"/>
                  <a:gd name="T89" fmla="*/ 93 h 143"/>
                  <a:gd name="T90" fmla="*/ 20 w 191"/>
                  <a:gd name="T91" fmla="*/ 95 h 143"/>
                  <a:gd name="T92" fmla="*/ 28 w 191"/>
                  <a:gd name="T93" fmla="*/ 95 h 143"/>
                  <a:gd name="T94" fmla="*/ 40 w 191"/>
                  <a:gd name="T95" fmla="*/ 100 h 143"/>
                  <a:gd name="T96" fmla="*/ 57 w 191"/>
                  <a:gd name="T97" fmla="*/ 111 h 143"/>
                  <a:gd name="T98" fmla="*/ 68 w 191"/>
                  <a:gd name="T99" fmla="*/ 110 h 143"/>
                  <a:gd name="T100" fmla="*/ 84 w 191"/>
                  <a:gd name="T101" fmla="*/ 119 h 143"/>
                  <a:gd name="T102" fmla="*/ 95 w 191"/>
                  <a:gd name="T103" fmla="*/ 126 h 143"/>
                  <a:gd name="T104" fmla="*/ 99 w 191"/>
                  <a:gd name="T105" fmla="*/ 131 h 143"/>
                  <a:gd name="T106" fmla="*/ 110 w 191"/>
                  <a:gd name="T107" fmla="*/ 130 h 143"/>
                  <a:gd name="T108" fmla="*/ 120 w 191"/>
                  <a:gd name="T109" fmla="*/ 137 h 143"/>
                  <a:gd name="T110" fmla="*/ 137 w 191"/>
                  <a:gd name="T111" fmla="*/ 135 h 143"/>
                  <a:gd name="T112" fmla="*/ 154 w 191"/>
                  <a:gd name="T113" fmla="*/ 136 h 143"/>
                  <a:gd name="T114" fmla="*/ 168 w 191"/>
                  <a:gd name="T115" fmla="*/ 140 h 143"/>
                  <a:gd name="T116" fmla="*/ 175 w 191"/>
                  <a:gd name="T117" fmla="*/ 119 h 143"/>
                  <a:gd name="T118" fmla="*/ 188 w 191"/>
                  <a:gd name="T119" fmla="*/ 102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1" h="143">
                    <a:moveTo>
                      <a:pt x="189" y="99"/>
                    </a:moveTo>
                    <a:cubicBezTo>
                      <a:pt x="191" y="98"/>
                      <a:pt x="186" y="95"/>
                      <a:pt x="184" y="93"/>
                    </a:cubicBezTo>
                    <a:cubicBezTo>
                      <a:pt x="183" y="90"/>
                      <a:pt x="179" y="83"/>
                      <a:pt x="178" y="82"/>
                    </a:cubicBezTo>
                    <a:cubicBezTo>
                      <a:pt x="178" y="81"/>
                      <a:pt x="178" y="80"/>
                      <a:pt x="178" y="78"/>
                    </a:cubicBezTo>
                    <a:cubicBezTo>
                      <a:pt x="179" y="77"/>
                      <a:pt x="179" y="72"/>
                      <a:pt x="179" y="70"/>
                    </a:cubicBezTo>
                    <a:cubicBezTo>
                      <a:pt x="178" y="68"/>
                      <a:pt x="172" y="67"/>
                      <a:pt x="170" y="66"/>
                    </a:cubicBezTo>
                    <a:cubicBezTo>
                      <a:pt x="169" y="66"/>
                      <a:pt x="171" y="63"/>
                      <a:pt x="173" y="60"/>
                    </a:cubicBezTo>
                    <a:cubicBezTo>
                      <a:pt x="176" y="57"/>
                      <a:pt x="177" y="58"/>
                      <a:pt x="180" y="57"/>
                    </a:cubicBezTo>
                    <a:cubicBezTo>
                      <a:pt x="183" y="56"/>
                      <a:pt x="182" y="56"/>
                      <a:pt x="182" y="53"/>
                    </a:cubicBezTo>
                    <a:cubicBezTo>
                      <a:pt x="182" y="50"/>
                      <a:pt x="182" y="47"/>
                      <a:pt x="181" y="45"/>
                    </a:cubicBezTo>
                    <a:cubicBezTo>
                      <a:pt x="180" y="42"/>
                      <a:pt x="176" y="34"/>
                      <a:pt x="175" y="32"/>
                    </a:cubicBezTo>
                    <a:cubicBezTo>
                      <a:pt x="174" y="29"/>
                      <a:pt x="174" y="26"/>
                      <a:pt x="174" y="26"/>
                    </a:cubicBezTo>
                    <a:cubicBezTo>
                      <a:pt x="174" y="26"/>
                      <a:pt x="173" y="22"/>
                      <a:pt x="173" y="21"/>
                    </a:cubicBezTo>
                    <a:cubicBezTo>
                      <a:pt x="173" y="19"/>
                      <a:pt x="171" y="19"/>
                      <a:pt x="168" y="17"/>
                    </a:cubicBezTo>
                    <a:cubicBezTo>
                      <a:pt x="166" y="16"/>
                      <a:pt x="165" y="14"/>
                      <a:pt x="163" y="13"/>
                    </a:cubicBezTo>
                    <a:cubicBezTo>
                      <a:pt x="162" y="13"/>
                      <a:pt x="158" y="13"/>
                      <a:pt x="158" y="13"/>
                    </a:cubicBezTo>
                    <a:cubicBezTo>
                      <a:pt x="158" y="13"/>
                      <a:pt x="158" y="13"/>
                      <a:pt x="158" y="13"/>
                    </a:cubicBezTo>
                    <a:cubicBezTo>
                      <a:pt x="158" y="13"/>
                      <a:pt x="146" y="14"/>
                      <a:pt x="136" y="14"/>
                    </a:cubicBezTo>
                    <a:cubicBezTo>
                      <a:pt x="126" y="14"/>
                      <a:pt x="112" y="13"/>
                      <a:pt x="109" y="12"/>
                    </a:cubicBezTo>
                    <a:cubicBezTo>
                      <a:pt x="109" y="12"/>
                      <a:pt x="106" y="14"/>
                      <a:pt x="104" y="16"/>
                    </a:cubicBezTo>
                    <a:cubicBezTo>
                      <a:pt x="101" y="17"/>
                      <a:pt x="99" y="17"/>
                      <a:pt x="100" y="16"/>
                    </a:cubicBezTo>
                    <a:cubicBezTo>
                      <a:pt x="101" y="14"/>
                      <a:pt x="104" y="14"/>
                      <a:pt x="102" y="13"/>
                    </a:cubicBezTo>
                    <a:cubicBezTo>
                      <a:pt x="100" y="13"/>
                      <a:pt x="96" y="14"/>
                      <a:pt x="94" y="14"/>
                    </a:cubicBezTo>
                    <a:cubicBezTo>
                      <a:pt x="93" y="14"/>
                      <a:pt x="89" y="12"/>
                      <a:pt x="88" y="10"/>
                    </a:cubicBezTo>
                    <a:cubicBezTo>
                      <a:pt x="87" y="9"/>
                      <a:pt x="86" y="5"/>
                      <a:pt x="85" y="4"/>
                    </a:cubicBezTo>
                    <a:cubicBezTo>
                      <a:pt x="84" y="3"/>
                      <a:pt x="87" y="4"/>
                      <a:pt x="89" y="5"/>
                    </a:cubicBezTo>
                    <a:cubicBezTo>
                      <a:pt x="90" y="6"/>
                      <a:pt x="92" y="5"/>
                      <a:pt x="90" y="5"/>
                    </a:cubicBezTo>
                    <a:cubicBezTo>
                      <a:pt x="89" y="5"/>
                      <a:pt x="86" y="2"/>
                      <a:pt x="83" y="1"/>
                    </a:cubicBezTo>
                    <a:cubicBezTo>
                      <a:pt x="81" y="0"/>
                      <a:pt x="77" y="0"/>
                      <a:pt x="73" y="1"/>
                    </a:cubicBezTo>
                    <a:cubicBezTo>
                      <a:pt x="70" y="3"/>
                      <a:pt x="69" y="3"/>
                      <a:pt x="65" y="4"/>
                    </a:cubicBezTo>
                    <a:cubicBezTo>
                      <a:pt x="62" y="5"/>
                      <a:pt x="60" y="7"/>
                      <a:pt x="58" y="8"/>
                    </a:cubicBezTo>
                    <a:cubicBezTo>
                      <a:pt x="55" y="9"/>
                      <a:pt x="52" y="8"/>
                      <a:pt x="51" y="9"/>
                    </a:cubicBezTo>
                    <a:cubicBezTo>
                      <a:pt x="50" y="11"/>
                      <a:pt x="49" y="14"/>
                      <a:pt x="47" y="15"/>
                    </a:cubicBezTo>
                    <a:cubicBezTo>
                      <a:pt x="45" y="17"/>
                      <a:pt x="45" y="16"/>
                      <a:pt x="41" y="17"/>
                    </a:cubicBezTo>
                    <a:cubicBezTo>
                      <a:pt x="37" y="19"/>
                      <a:pt x="33" y="19"/>
                      <a:pt x="30" y="20"/>
                    </a:cubicBezTo>
                    <a:cubicBezTo>
                      <a:pt x="27" y="21"/>
                      <a:pt x="24" y="21"/>
                      <a:pt x="21" y="23"/>
                    </a:cubicBezTo>
                    <a:cubicBezTo>
                      <a:pt x="20" y="24"/>
                      <a:pt x="12" y="25"/>
                      <a:pt x="7" y="26"/>
                    </a:cubicBezTo>
                    <a:cubicBezTo>
                      <a:pt x="7" y="26"/>
                      <a:pt x="7" y="26"/>
                      <a:pt x="7" y="27"/>
                    </a:cubicBezTo>
                    <a:cubicBezTo>
                      <a:pt x="7" y="27"/>
                      <a:pt x="6" y="27"/>
                      <a:pt x="6" y="28"/>
                    </a:cubicBezTo>
                    <a:cubicBezTo>
                      <a:pt x="6" y="28"/>
                      <a:pt x="6" y="28"/>
                      <a:pt x="6" y="29"/>
                    </a:cubicBezTo>
                    <a:cubicBezTo>
                      <a:pt x="6" y="29"/>
                      <a:pt x="5" y="29"/>
                      <a:pt x="5" y="29"/>
                    </a:cubicBezTo>
                    <a:cubicBezTo>
                      <a:pt x="5" y="29"/>
                      <a:pt x="4" y="29"/>
                      <a:pt x="4" y="29"/>
                    </a:cubicBezTo>
                    <a:cubicBezTo>
                      <a:pt x="4" y="29"/>
                      <a:pt x="3" y="29"/>
                      <a:pt x="3" y="29"/>
                    </a:cubicBezTo>
                    <a:cubicBezTo>
                      <a:pt x="3" y="29"/>
                      <a:pt x="2" y="29"/>
                      <a:pt x="2" y="29"/>
                    </a:cubicBezTo>
                    <a:cubicBezTo>
                      <a:pt x="2" y="28"/>
                      <a:pt x="2" y="28"/>
                      <a:pt x="2" y="28"/>
                    </a:cubicBezTo>
                    <a:cubicBezTo>
                      <a:pt x="2" y="28"/>
                      <a:pt x="2" y="27"/>
                      <a:pt x="1" y="27"/>
                    </a:cubicBezTo>
                    <a:cubicBezTo>
                      <a:pt x="1" y="27"/>
                      <a:pt x="1" y="27"/>
                      <a:pt x="1" y="27"/>
                    </a:cubicBezTo>
                    <a:cubicBezTo>
                      <a:pt x="1" y="27"/>
                      <a:pt x="1" y="27"/>
                      <a:pt x="0" y="27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8"/>
                      <a:pt x="1" y="28"/>
                      <a:pt x="1" y="28"/>
                    </a:cubicBezTo>
                    <a:cubicBezTo>
                      <a:pt x="1" y="28"/>
                      <a:pt x="1" y="29"/>
                      <a:pt x="1" y="29"/>
                    </a:cubicBezTo>
                    <a:cubicBezTo>
                      <a:pt x="1" y="29"/>
                      <a:pt x="1" y="30"/>
                      <a:pt x="1" y="30"/>
                    </a:cubicBezTo>
                    <a:cubicBezTo>
                      <a:pt x="1" y="30"/>
                      <a:pt x="1" y="30"/>
                      <a:pt x="1" y="30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3" y="31"/>
                      <a:pt x="4" y="31"/>
                      <a:pt x="4" y="31"/>
                    </a:cubicBezTo>
                    <a:cubicBezTo>
                      <a:pt x="4" y="31"/>
                      <a:pt x="4" y="31"/>
                      <a:pt x="4" y="31"/>
                    </a:cubicBezTo>
                    <a:cubicBezTo>
                      <a:pt x="4" y="32"/>
                      <a:pt x="4" y="32"/>
                      <a:pt x="4" y="32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2"/>
                      <a:pt x="5" y="32"/>
                      <a:pt x="6" y="32"/>
                    </a:cubicBezTo>
                    <a:cubicBezTo>
                      <a:pt x="6" y="32"/>
                      <a:pt x="6" y="32"/>
                      <a:pt x="7" y="32"/>
                    </a:cubicBezTo>
                    <a:cubicBezTo>
                      <a:pt x="7" y="32"/>
                      <a:pt x="7" y="32"/>
                      <a:pt x="7" y="32"/>
                    </a:cubicBezTo>
                    <a:cubicBezTo>
                      <a:pt x="7" y="33"/>
                      <a:pt x="8" y="33"/>
                      <a:pt x="8" y="33"/>
                    </a:cubicBezTo>
                    <a:cubicBezTo>
                      <a:pt x="8" y="34"/>
                      <a:pt x="8" y="34"/>
                      <a:pt x="8" y="34"/>
                    </a:cubicBezTo>
                    <a:cubicBezTo>
                      <a:pt x="8" y="35"/>
                      <a:pt x="8" y="35"/>
                      <a:pt x="8" y="35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8" y="37"/>
                      <a:pt x="9" y="37"/>
                      <a:pt x="9" y="38"/>
                    </a:cubicBezTo>
                    <a:cubicBezTo>
                      <a:pt x="9" y="38"/>
                      <a:pt x="9" y="39"/>
                      <a:pt x="9" y="39"/>
                    </a:cubicBezTo>
                    <a:cubicBezTo>
                      <a:pt x="9" y="40"/>
                      <a:pt x="9" y="40"/>
                      <a:pt x="9" y="40"/>
                    </a:cubicBezTo>
                    <a:cubicBezTo>
                      <a:pt x="9" y="40"/>
                      <a:pt x="9" y="40"/>
                      <a:pt x="9" y="41"/>
                    </a:cubicBezTo>
                    <a:cubicBezTo>
                      <a:pt x="9" y="41"/>
                      <a:pt x="9" y="41"/>
                      <a:pt x="10" y="42"/>
                    </a:cubicBezTo>
                    <a:cubicBezTo>
                      <a:pt x="10" y="42"/>
                      <a:pt x="9" y="42"/>
                      <a:pt x="9" y="43"/>
                    </a:cubicBezTo>
                    <a:cubicBezTo>
                      <a:pt x="10" y="43"/>
                      <a:pt x="10" y="43"/>
                      <a:pt x="10" y="44"/>
                    </a:cubicBezTo>
                    <a:cubicBezTo>
                      <a:pt x="10" y="44"/>
                      <a:pt x="10" y="44"/>
                      <a:pt x="11" y="45"/>
                    </a:cubicBezTo>
                    <a:cubicBezTo>
                      <a:pt x="11" y="45"/>
                      <a:pt x="11" y="45"/>
                      <a:pt x="11" y="46"/>
                    </a:cubicBezTo>
                    <a:cubicBezTo>
                      <a:pt x="11" y="46"/>
                      <a:pt x="10" y="47"/>
                      <a:pt x="10" y="47"/>
                    </a:cubicBezTo>
                    <a:cubicBezTo>
                      <a:pt x="10" y="48"/>
                      <a:pt x="10" y="48"/>
                      <a:pt x="9" y="49"/>
                    </a:cubicBezTo>
                    <a:cubicBezTo>
                      <a:pt x="9" y="50"/>
                      <a:pt x="8" y="50"/>
                      <a:pt x="8" y="51"/>
                    </a:cubicBezTo>
                    <a:cubicBezTo>
                      <a:pt x="8" y="51"/>
                      <a:pt x="8" y="52"/>
                      <a:pt x="8" y="52"/>
                    </a:cubicBezTo>
                    <a:cubicBezTo>
                      <a:pt x="7" y="52"/>
                      <a:pt x="7" y="53"/>
                      <a:pt x="7" y="53"/>
                    </a:cubicBezTo>
                    <a:cubicBezTo>
                      <a:pt x="7" y="53"/>
                      <a:pt x="6" y="53"/>
                      <a:pt x="6" y="54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5"/>
                      <a:pt x="6" y="55"/>
                      <a:pt x="5" y="55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6" y="56"/>
                      <a:pt x="6" y="56"/>
                      <a:pt x="7" y="57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8" y="57"/>
                      <a:pt x="8" y="58"/>
                      <a:pt x="9" y="58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9"/>
                      <a:pt x="10" y="59"/>
                      <a:pt x="10" y="59"/>
                    </a:cubicBezTo>
                    <a:cubicBezTo>
                      <a:pt x="10" y="59"/>
                      <a:pt x="10" y="59"/>
                      <a:pt x="11" y="60"/>
                    </a:cubicBezTo>
                    <a:cubicBezTo>
                      <a:pt x="11" y="60"/>
                      <a:pt x="11" y="60"/>
                      <a:pt x="11" y="61"/>
                    </a:cubicBezTo>
                    <a:cubicBezTo>
                      <a:pt x="12" y="61"/>
                      <a:pt x="12" y="61"/>
                      <a:pt x="12" y="62"/>
                    </a:cubicBezTo>
                    <a:cubicBezTo>
                      <a:pt x="13" y="62"/>
                      <a:pt x="13" y="62"/>
                      <a:pt x="13" y="63"/>
                    </a:cubicBezTo>
                    <a:cubicBezTo>
                      <a:pt x="14" y="63"/>
                      <a:pt x="14" y="63"/>
                      <a:pt x="14" y="63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65"/>
                      <a:pt x="14" y="65"/>
                      <a:pt x="14" y="66"/>
                    </a:cubicBezTo>
                    <a:cubicBezTo>
                      <a:pt x="14" y="66"/>
                      <a:pt x="13" y="66"/>
                      <a:pt x="13" y="66"/>
                    </a:cubicBezTo>
                    <a:cubicBezTo>
                      <a:pt x="13" y="67"/>
                      <a:pt x="13" y="67"/>
                      <a:pt x="13" y="67"/>
                    </a:cubicBezTo>
                    <a:cubicBezTo>
                      <a:pt x="13" y="68"/>
                      <a:pt x="13" y="68"/>
                      <a:pt x="13" y="68"/>
                    </a:cubicBezTo>
                    <a:cubicBezTo>
                      <a:pt x="13" y="69"/>
                      <a:pt x="13" y="69"/>
                      <a:pt x="13" y="69"/>
                    </a:cubicBezTo>
                    <a:cubicBezTo>
                      <a:pt x="13" y="69"/>
                      <a:pt x="13" y="70"/>
                      <a:pt x="13" y="70"/>
                    </a:cubicBezTo>
                    <a:cubicBezTo>
                      <a:pt x="14" y="70"/>
                      <a:pt x="14" y="70"/>
                      <a:pt x="14" y="71"/>
                    </a:cubicBezTo>
                    <a:cubicBezTo>
                      <a:pt x="14" y="71"/>
                      <a:pt x="15" y="71"/>
                      <a:pt x="15" y="71"/>
                    </a:cubicBezTo>
                    <a:cubicBezTo>
                      <a:pt x="15" y="71"/>
                      <a:pt x="15" y="71"/>
                      <a:pt x="15" y="72"/>
                    </a:cubicBezTo>
                    <a:cubicBezTo>
                      <a:pt x="15" y="72"/>
                      <a:pt x="15" y="72"/>
                      <a:pt x="16" y="73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6" y="75"/>
                      <a:pt x="16" y="75"/>
                      <a:pt x="16" y="76"/>
                    </a:cubicBezTo>
                    <a:cubicBezTo>
                      <a:pt x="16" y="76"/>
                      <a:pt x="16" y="76"/>
                      <a:pt x="16" y="77"/>
                    </a:cubicBezTo>
                    <a:cubicBezTo>
                      <a:pt x="16" y="77"/>
                      <a:pt x="16" y="77"/>
                      <a:pt x="16" y="78"/>
                    </a:cubicBezTo>
                    <a:cubicBezTo>
                      <a:pt x="16" y="78"/>
                      <a:pt x="16" y="78"/>
                      <a:pt x="15" y="78"/>
                    </a:cubicBezTo>
                    <a:cubicBezTo>
                      <a:pt x="15" y="79"/>
                      <a:pt x="15" y="79"/>
                      <a:pt x="15" y="79"/>
                    </a:cubicBezTo>
                    <a:cubicBezTo>
                      <a:pt x="15" y="80"/>
                      <a:pt x="15" y="80"/>
                      <a:pt x="15" y="80"/>
                    </a:cubicBezTo>
                    <a:cubicBezTo>
                      <a:pt x="15" y="80"/>
                      <a:pt x="15" y="81"/>
                      <a:pt x="15" y="81"/>
                    </a:cubicBezTo>
                    <a:cubicBezTo>
                      <a:pt x="15" y="81"/>
                      <a:pt x="15" y="81"/>
                      <a:pt x="15" y="81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4" y="82"/>
                      <a:pt x="14" y="83"/>
                      <a:pt x="14" y="83"/>
                    </a:cubicBezTo>
                    <a:cubicBezTo>
                      <a:pt x="14" y="83"/>
                      <a:pt x="14" y="83"/>
                      <a:pt x="14" y="84"/>
                    </a:cubicBezTo>
                    <a:cubicBezTo>
                      <a:pt x="14" y="84"/>
                      <a:pt x="14" y="84"/>
                      <a:pt x="15" y="84"/>
                    </a:cubicBezTo>
                    <a:cubicBezTo>
                      <a:pt x="15" y="84"/>
                      <a:pt x="15" y="84"/>
                      <a:pt x="15" y="85"/>
                    </a:cubicBezTo>
                    <a:cubicBezTo>
                      <a:pt x="15" y="85"/>
                      <a:pt x="15" y="85"/>
                      <a:pt x="15" y="85"/>
                    </a:cubicBezTo>
                    <a:cubicBezTo>
                      <a:pt x="15" y="85"/>
                      <a:pt x="15" y="85"/>
                      <a:pt x="15" y="85"/>
                    </a:cubicBezTo>
                    <a:cubicBezTo>
                      <a:pt x="15" y="86"/>
                      <a:pt x="15" y="86"/>
                      <a:pt x="16" y="86"/>
                    </a:cubicBezTo>
                    <a:cubicBezTo>
                      <a:pt x="16" y="86"/>
                      <a:pt x="16" y="86"/>
                      <a:pt x="16" y="86"/>
                    </a:cubicBezTo>
                    <a:cubicBezTo>
                      <a:pt x="16" y="86"/>
                      <a:pt x="16" y="87"/>
                      <a:pt x="16" y="87"/>
                    </a:cubicBezTo>
                    <a:cubicBezTo>
                      <a:pt x="17" y="87"/>
                      <a:pt x="17" y="87"/>
                      <a:pt x="17" y="87"/>
                    </a:cubicBezTo>
                    <a:cubicBezTo>
                      <a:pt x="17" y="87"/>
                      <a:pt x="17" y="87"/>
                      <a:pt x="17" y="88"/>
                    </a:cubicBezTo>
                    <a:cubicBezTo>
                      <a:pt x="17" y="88"/>
                      <a:pt x="17" y="88"/>
                      <a:pt x="17" y="89"/>
                    </a:cubicBezTo>
                    <a:cubicBezTo>
                      <a:pt x="17" y="89"/>
                      <a:pt x="17" y="89"/>
                      <a:pt x="17" y="89"/>
                    </a:cubicBezTo>
                    <a:cubicBezTo>
                      <a:pt x="17" y="89"/>
                      <a:pt x="16" y="90"/>
                      <a:pt x="16" y="90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0"/>
                      <a:pt x="18" y="90"/>
                      <a:pt x="19" y="91"/>
                    </a:cubicBezTo>
                    <a:cubicBezTo>
                      <a:pt x="19" y="91"/>
                      <a:pt x="19" y="91"/>
                      <a:pt x="20" y="91"/>
                    </a:cubicBezTo>
                    <a:cubicBezTo>
                      <a:pt x="20" y="92"/>
                      <a:pt x="20" y="92"/>
                      <a:pt x="20" y="92"/>
                    </a:cubicBezTo>
                    <a:cubicBezTo>
                      <a:pt x="20" y="93"/>
                      <a:pt x="20" y="93"/>
                      <a:pt x="20" y="93"/>
                    </a:cubicBezTo>
                    <a:cubicBezTo>
                      <a:pt x="20" y="93"/>
                      <a:pt x="20" y="94"/>
                      <a:pt x="20" y="94"/>
                    </a:cubicBezTo>
                    <a:cubicBezTo>
                      <a:pt x="20" y="94"/>
                      <a:pt x="20" y="94"/>
                      <a:pt x="20" y="95"/>
                    </a:cubicBezTo>
                    <a:cubicBezTo>
                      <a:pt x="20" y="95"/>
                      <a:pt x="20" y="95"/>
                      <a:pt x="20" y="95"/>
                    </a:cubicBezTo>
                    <a:cubicBezTo>
                      <a:pt x="21" y="95"/>
                      <a:pt x="22" y="97"/>
                      <a:pt x="23" y="99"/>
                    </a:cubicBezTo>
                    <a:cubicBezTo>
                      <a:pt x="24" y="100"/>
                      <a:pt x="25" y="98"/>
                      <a:pt x="26" y="98"/>
                    </a:cubicBezTo>
                    <a:cubicBezTo>
                      <a:pt x="28" y="98"/>
                      <a:pt x="28" y="95"/>
                      <a:pt x="28" y="95"/>
                    </a:cubicBezTo>
                    <a:cubicBezTo>
                      <a:pt x="28" y="95"/>
                      <a:pt x="31" y="96"/>
                      <a:pt x="32" y="95"/>
                    </a:cubicBezTo>
                    <a:cubicBezTo>
                      <a:pt x="34" y="95"/>
                      <a:pt x="34" y="97"/>
                      <a:pt x="34" y="99"/>
                    </a:cubicBezTo>
                    <a:cubicBezTo>
                      <a:pt x="35" y="100"/>
                      <a:pt x="37" y="100"/>
                      <a:pt x="40" y="100"/>
                    </a:cubicBezTo>
                    <a:cubicBezTo>
                      <a:pt x="42" y="101"/>
                      <a:pt x="44" y="102"/>
                      <a:pt x="46" y="103"/>
                    </a:cubicBezTo>
                    <a:cubicBezTo>
                      <a:pt x="49" y="104"/>
                      <a:pt x="52" y="102"/>
                      <a:pt x="53" y="104"/>
                    </a:cubicBezTo>
                    <a:cubicBezTo>
                      <a:pt x="54" y="105"/>
                      <a:pt x="55" y="109"/>
                      <a:pt x="57" y="111"/>
                    </a:cubicBezTo>
                    <a:cubicBezTo>
                      <a:pt x="59" y="113"/>
                      <a:pt x="60" y="115"/>
                      <a:pt x="61" y="115"/>
                    </a:cubicBezTo>
                    <a:cubicBezTo>
                      <a:pt x="61" y="115"/>
                      <a:pt x="61" y="115"/>
                      <a:pt x="62" y="114"/>
                    </a:cubicBezTo>
                    <a:cubicBezTo>
                      <a:pt x="63" y="112"/>
                      <a:pt x="66" y="109"/>
                      <a:pt x="68" y="110"/>
                    </a:cubicBezTo>
                    <a:cubicBezTo>
                      <a:pt x="70" y="111"/>
                      <a:pt x="73" y="113"/>
                      <a:pt x="74" y="112"/>
                    </a:cubicBezTo>
                    <a:cubicBezTo>
                      <a:pt x="75" y="111"/>
                      <a:pt x="77" y="117"/>
                      <a:pt x="79" y="118"/>
                    </a:cubicBezTo>
                    <a:cubicBezTo>
                      <a:pt x="80" y="120"/>
                      <a:pt x="82" y="119"/>
                      <a:pt x="84" y="119"/>
                    </a:cubicBezTo>
                    <a:cubicBezTo>
                      <a:pt x="86" y="118"/>
                      <a:pt x="88" y="121"/>
                      <a:pt x="90" y="121"/>
                    </a:cubicBezTo>
                    <a:cubicBezTo>
                      <a:pt x="91" y="122"/>
                      <a:pt x="92" y="121"/>
                      <a:pt x="92" y="123"/>
                    </a:cubicBezTo>
                    <a:cubicBezTo>
                      <a:pt x="93" y="124"/>
                      <a:pt x="94" y="125"/>
                      <a:pt x="95" y="126"/>
                    </a:cubicBezTo>
                    <a:cubicBezTo>
                      <a:pt x="95" y="126"/>
                      <a:pt x="96" y="127"/>
                      <a:pt x="96" y="127"/>
                    </a:cubicBezTo>
                    <a:cubicBezTo>
                      <a:pt x="97" y="128"/>
                      <a:pt x="97" y="129"/>
                      <a:pt x="98" y="129"/>
                    </a:cubicBezTo>
                    <a:cubicBezTo>
                      <a:pt x="98" y="130"/>
                      <a:pt x="99" y="131"/>
                      <a:pt x="99" y="131"/>
                    </a:cubicBezTo>
                    <a:cubicBezTo>
                      <a:pt x="101" y="131"/>
                      <a:pt x="101" y="131"/>
                      <a:pt x="101" y="133"/>
                    </a:cubicBezTo>
                    <a:cubicBezTo>
                      <a:pt x="101" y="135"/>
                      <a:pt x="104" y="133"/>
                      <a:pt x="106" y="131"/>
                    </a:cubicBezTo>
                    <a:cubicBezTo>
                      <a:pt x="108" y="129"/>
                      <a:pt x="110" y="129"/>
                      <a:pt x="110" y="130"/>
                    </a:cubicBezTo>
                    <a:cubicBezTo>
                      <a:pt x="111" y="131"/>
                      <a:pt x="111" y="134"/>
                      <a:pt x="113" y="134"/>
                    </a:cubicBezTo>
                    <a:cubicBezTo>
                      <a:pt x="116" y="134"/>
                      <a:pt x="115" y="135"/>
                      <a:pt x="116" y="137"/>
                    </a:cubicBezTo>
                    <a:cubicBezTo>
                      <a:pt x="116" y="138"/>
                      <a:pt x="118" y="140"/>
                      <a:pt x="120" y="137"/>
                    </a:cubicBezTo>
                    <a:cubicBezTo>
                      <a:pt x="123" y="135"/>
                      <a:pt x="124" y="134"/>
                      <a:pt x="126" y="134"/>
                    </a:cubicBezTo>
                    <a:cubicBezTo>
                      <a:pt x="128" y="134"/>
                      <a:pt x="130" y="134"/>
                      <a:pt x="132" y="134"/>
                    </a:cubicBezTo>
                    <a:cubicBezTo>
                      <a:pt x="133" y="135"/>
                      <a:pt x="135" y="137"/>
                      <a:pt x="137" y="135"/>
                    </a:cubicBezTo>
                    <a:cubicBezTo>
                      <a:pt x="139" y="133"/>
                      <a:pt x="141" y="132"/>
                      <a:pt x="143" y="132"/>
                    </a:cubicBezTo>
                    <a:cubicBezTo>
                      <a:pt x="146" y="133"/>
                      <a:pt x="149" y="133"/>
                      <a:pt x="150" y="133"/>
                    </a:cubicBezTo>
                    <a:cubicBezTo>
                      <a:pt x="152" y="134"/>
                      <a:pt x="152" y="134"/>
                      <a:pt x="154" y="136"/>
                    </a:cubicBezTo>
                    <a:cubicBezTo>
                      <a:pt x="156" y="139"/>
                      <a:pt x="161" y="141"/>
                      <a:pt x="164" y="142"/>
                    </a:cubicBezTo>
                    <a:cubicBezTo>
                      <a:pt x="165" y="142"/>
                      <a:pt x="168" y="142"/>
                      <a:pt x="170" y="143"/>
                    </a:cubicBezTo>
                    <a:cubicBezTo>
                      <a:pt x="172" y="143"/>
                      <a:pt x="170" y="141"/>
                      <a:pt x="168" y="140"/>
                    </a:cubicBezTo>
                    <a:cubicBezTo>
                      <a:pt x="167" y="138"/>
                      <a:pt x="168" y="136"/>
                      <a:pt x="166" y="133"/>
                    </a:cubicBezTo>
                    <a:cubicBezTo>
                      <a:pt x="165" y="131"/>
                      <a:pt x="165" y="129"/>
                      <a:pt x="167" y="128"/>
                    </a:cubicBezTo>
                    <a:cubicBezTo>
                      <a:pt x="168" y="127"/>
                      <a:pt x="174" y="120"/>
                      <a:pt x="175" y="119"/>
                    </a:cubicBezTo>
                    <a:cubicBezTo>
                      <a:pt x="176" y="117"/>
                      <a:pt x="180" y="113"/>
                      <a:pt x="182" y="111"/>
                    </a:cubicBezTo>
                    <a:cubicBezTo>
                      <a:pt x="184" y="110"/>
                      <a:pt x="187" y="109"/>
                      <a:pt x="188" y="108"/>
                    </a:cubicBezTo>
                    <a:cubicBezTo>
                      <a:pt x="189" y="107"/>
                      <a:pt x="189" y="103"/>
                      <a:pt x="188" y="102"/>
                    </a:cubicBezTo>
                    <a:cubicBezTo>
                      <a:pt x="187" y="100"/>
                      <a:pt x="187" y="99"/>
                      <a:pt x="189" y="99"/>
                    </a:cubicBezTo>
                    <a:close/>
                  </a:path>
                </a:pathLst>
              </a:custGeom>
              <a:pattFill prst="wdUpDiag">
                <a:fgClr>
                  <a:schemeClr val="accent3"/>
                </a:fgClr>
                <a:bgClr>
                  <a:schemeClr val="accent4"/>
                </a:bgClr>
              </a:patt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21" name="Gruppieren 306">
                <a:extLst>
                  <a:ext uri="{FF2B5EF4-FFF2-40B4-BE49-F238E27FC236}">
                    <a16:creationId xmlns:a16="http://schemas.microsoft.com/office/drawing/2014/main" id="{49C6AD29-293D-8164-0AB6-D046161F02DB}"/>
                  </a:ext>
                </a:extLst>
              </p:cNvPr>
              <p:cNvGrpSpPr/>
              <p:nvPr/>
            </p:nvGrpSpPr>
            <p:grpSpPr bwMode="gray">
              <a:xfrm>
                <a:off x="3224147" y="4132260"/>
                <a:ext cx="579192" cy="837980"/>
                <a:chOff x="3182939" y="4183063"/>
                <a:chExt cx="596900" cy="863600"/>
              </a:xfrm>
              <a:grpFill/>
            </p:grpSpPr>
            <p:sp>
              <p:nvSpPr>
                <p:cNvPr id="548" name="Freeform 184">
                  <a:extLst>
                    <a:ext uri="{FF2B5EF4-FFF2-40B4-BE49-F238E27FC236}">
                      <a16:creationId xmlns:a16="http://schemas.microsoft.com/office/drawing/2014/main" id="{25750A01-1A23-55B7-6065-5F7EDFA6BC6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08351" y="4316413"/>
                  <a:ext cx="7938" cy="7938"/>
                </a:xfrm>
                <a:custGeom>
                  <a:avLst/>
                  <a:gdLst>
                    <a:gd name="T0" fmla="*/ 1 w 2"/>
                    <a:gd name="T1" fmla="*/ 2 h 2"/>
                    <a:gd name="T2" fmla="*/ 1 w 2"/>
                    <a:gd name="T3" fmla="*/ 2 h 2"/>
                    <a:gd name="T4" fmla="*/ 1 w 2"/>
                    <a:gd name="T5" fmla="*/ 1 h 2"/>
                    <a:gd name="T6" fmla="*/ 2 w 2"/>
                    <a:gd name="T7" fmla="*/ 1 h 2"/>
                    <a:gd name="T8" fmla="*/ 2 w 2"/>
                    <a:gd name="T9" fmla="*/ 1 h 2"/>
                    <a:gd name="T10" fmla="*/ 2 w 2"/>
                    <a:gd name="T11" fmla="*/ 0 h 2"/>
                    <a:gd name="T12" fmla="*/ 1 w 2"/>
                    <a:gd name="T13" fmla="*/ 0 h 2"/>
                    <a:gd name="T14" fmla="*/ 0 w 2"/>
                    <a:gd name="T15" fmla="*/ 1 h 2"/>
                    <a:gd name="T16" fmla="*/ 0 w 2"/>
                    <a:gd name="T17" fmla="*/ 1 h 2"/>
                    <a:gd name="T18" fmla="*/ 0 w 2"/>
                    <a:gd name="T19" fmla="*/ 2 h 2"/>
                    <a:gd name="T20" fmla="*/ 0 w 2"/>
                    <a:gd name="T21" fmla="*/ 2 h 2"/>
                    <a:gd name="T22" fmla="*/ 1 w 2"/>
                    <a:gd name="T2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2"/>
                        <a:pt x="1" y="2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1" y="2"/>
                        <a:pt x="1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9" name="Freeform 185">
                  <a:extLst>
                    <a:ext uri="{FF2B5EF4-FFF2-40B4-BE49-F238E27FC236}">
                      <a16:creationId xmlns:a16="http://schemas.microsoft.com/office/drawing/2014/main" id="{BF9D8133-9256-E836-B6C4-84977A8B731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95651" y="4321175"/>
                  <a:ext cx="7938" cy="3175"/>
                </a:xfrm>
                <a:custGeom>
                  <a:avLst/>
                  <a:gdLst>
                    <a:gd name="T0" fmla="*/ 0 w 2"/>
                    <a:gd name="T1" fmla="*/ 1 h 1"/>
                    <a:gd name="T2" fmla="*/ 1 w 2"/>
                    <a:gd name="T3" fmla="*/ 1 h 1"/>
                    <a:gd name="T4" fmla="*/ 2 w 2"/>
                    <a:gd name="T5" fmla="*/ 1 h 1"/>
                    <a:gd name="T6" fmla="*/ 2 w 2"/>
                    <a:gd name="T7" fmla="*/ 1 h 1"/>
                    <a:gd name="T8" fmla="*/ 1 w 2"/>
                    <a:gd name="T9" fmla="*/ 0 h 1"/>
                    <a:gd name="T10" fmla="*/ 0 w 2"/>
                    <a:gd name="T11" fmla="*/ 0 h 1"/>
                    <a:gd name="T12" fmla="*/ 0 w 2"/>
                    <a:gd name="T13" fmla="*/ 0 h 1"/>
                    <a:gd name="T14" fmla="*/ 0 w 2"/>
                    <a:gd name="T15" fmla="*/ 1 h 1"/>
                    <a:gd name="T16" fmla="*/ 0 w 2"/>
                    <a:gd name="T1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cubicBezTo>
                        <a:pt x="0" y="1"/>
                        <a:pt x="0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0" name="Freeform 186">
                  <a:extLst>
                    <a:ext uri="{FF2B5EF4-FFF2-40B4-BE49-F238E27FC236}">
                      <a16:creationId xmlns:a16="http://schemas.microsoft.com/office/drawing/2014/main" id="{0A94F912-00A1-56DA-77ED-EEAAEDCE430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75014" y="4324350"/>
                  <a:ext cx="12700" cy="4763"/>
                </a:xfrm>
                <a:custGeom>
                  <a:avLst/>
                  <a:gdLst>
                    <a:gd name="T0" fmla="*/ 2 w 3"/>
                    <a:gd name="T1" fmla="*/ 1 h 1"/>
                    <a:gd name="T2" fmla="*/ 3 w 3"/>
                    <a:gd name="T3" fmla="*/ 0 h 1"/>
                    <a:gd name="T4" fmla="*/ 2 w 3"/>
                    <a:gd name="T5" fmla="*/ 0 h 1"/>
                    <a:gd name="T6" fmla="*/ 0 w 3"/>
                    <a:gd name="T7" fmla="*/ 0 h 1"/>
                    <a:gd name="T8" fmla="*/ 0 w 3"/>
                    <a:gd name="T9" fmla="*/ 0 h 1"/>
                    <a:gd name="T10" fmla="*/ 0 w 3"/>
                    <a:gd name="T11" fmla="*/ 1 h 1"/>
                    <a:gd name="T12" fmla="*/ 1 w 3"/>
                    <a:gd name="T13" fmla="*/ 1 h 1"/>
                    <a:gd name="T14" fmla="*/ 2 w 3"/>
                    <a:gd name="T1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1">
                      <a:moveTo>
                        <a:pt x="2" y="1"/>
                      </a:moveTo>
                      <a:cubicBezTo>
                        <a:pt x="2" y="1"/>
                        <a:pt x="2" y="1"/>
                        <a:pt x="3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1" name="Freeform 187">
                  <a:extLst>
                    <a:ext uri="{FF2B5EF4-FFF2-40B4-BE49-F238E27FC236}">
                      <a16:creationId xmlns:a16="http://schemas.microsoft.com/office/drawing/2014/main" id="{821AEE6F-490A-E1EC-8145-4F069C15EE4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54376" y="4329113"/>
                  <a:ext cx="15875" cy="3175"/>
                </a:xfrm>
                <a:custGeom>
                  <a:avLst/>
                  <a:gdLst>
                    <a:gd name="T0" fmla="*/ 1 w 4"/>
                    <a:gd name="T1" fmla="*/ 1 h 1"/>
                    <a:gd name="T2" fmla="*/ 2 w 4"/>
                    <a:gd name="T3" fmla="*/ 1 h 1"/>
                    <a:gd name="T4" fmla="*/ 4 w 4"/>
                    <a:gd name="T5" fmla="*/ 1 h 1"/>
                    <a:gd name="T6" fmla="*/ 4 w 4"/>
                    <a:gd name="T7" fmla="*/ 1 h 1"/>
                    <a:gd name="T8" fmla="*/ 4 w 4"/>
                    <a:gd name="T9" fmla="*/ 0 h 1"/>
                    <a:gd name="T10" fmla="*/ 3 w 4"/>
                    <a:gd name="T11" fmla="*/ 0 h 1"/>
                    <a:gd name="T12" fmla="*/ 2 w 4"/>
                    <a:gd name="T13" fmla="*/ 0 h 1"/>
                    <a:gd name="T14" fmla="*/ 1 w 4"/>
                    <a:gd name="T15" fmla="*/ 0 h 1"/>
                    <a:gd name="T16" fmla="*/ 0 w 4"/>
                    <a:gd name="T17" fmla="*/ 1 h 1"/>
                    <a:gd name="T18" fmla="*/ 1 w 4"/>
                    <a:gd name="T19" fmla="*/ 1 h 1"/>
                    <a:gd name="T20" fmla="*/ 1 w 4"/>
                    <a:gd name="T2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" h="1">
                      <a:moveTo>
                        <a:pt x="1" y="1"/>
                      </a:move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0"/>
                      </a:cubicBezTo>
                      <a:cubicBezTo>
                        <a:pt x="4" y="0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2" name="Freeform 188">
                  <a:extLst>
                    <a:ext uri="{FF2B5EF4-FFF2-40B4-BE49-F238E27FC236}">
                      <a16:creationId xmlns:a16="http://schemas.microsoft.com/office/drawing/2014/main" id="{3A7C4749-A6DD-5519-A189-B6900ABCE25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241676" y="4337050"/>
                  <a:ext cx="7938" cy="7938"/>
                </a:xfrm>
                <a:custGeom>
                  <a:avLst/>
                  <a:gdLst>
                    <a:gd name="T0" fmla="*/ 0 w 2"/>
                    <a:gd name="T1" fmla="*/ 2 h 2"/>
                    <a:gd name="T2" fmla="*/ 0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1 h 2"/>
                    <a:gd name="T10" fmla="*/ 2 w 2"/>
                    <a:gd name="T11" fmla="*/ 0 h 2"/>
                    <a:gd name="T12" fmla="*/ 1 w 2"/>
                    <a:gd name="T13" fmla="*/ 0 h 2"/>
                    <a:gd name="T14" fmla="*/ 1 w 2"/>
                    <a:gd name="T15" fmla="*/ 1 h 2"/>
                    <a:gd name="T16" fmla="*/ 0 w 2"/>
                    <a:gd name="T17" fmla="*/ 2 h 2"/>
                    <a:gd name="T18" fmla="*/ 0 w 2"/>
                    <a:gd name="T19" fmla="*/ 2 h 2"/>
                    <a:gd name="T20" fmla="*/ 0 w 2"/>
                    <a:gd name="T2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2"/>
                        <a:pt x="2" y="2"/>
                        <a:pt x="2" y="2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1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0" y="1"/>
                        <a:pt x="0" y="1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3" name="Freeform 189">
                  <a:extLst>
                    <a:ext uri="{FF2B5EF4-FFF2-40B4-BE49-F238E27FC236}">
                      <a16:creationId xmlns:a16="http://schemas.microsoft.com/office/drawing/2014/main" id="{754CB94B-B341-BEBB-6F40-F75B44CD210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516314" y="4237038"/>
                  <a:ext cx="17463" cy="20638"/>
                </a:xfrm>
                <a:custGeom>
                  <a:avLst/>
                  <a:gdLst>
                    <a:gd name="T0" fmla="*/ 1 w 4"/>
                    <a:gd name="T1" fmla="*/ 3 h 5"/>
                    <a:gd name="T2" fmla="*/ 2 w 4"/>
                    <a:gd name="T3" fmla="*/ 4 h 5"/>
                    <a:gd name="T4" fmla="*/ 2 w 4"/>
                    <a:gd name="T5" fmla="*/ 5 h 5"/>
                    <a:gd name="T6" fmla="*/ 3 w 4"/>
                    <a:gd name="T7" fmla="*/ 5 h 5"/>
                    <a:gd name="T8" fmla="*/ 2 w 4"/>
                    <a:gd name="T9" fmla="*/ 4 h 5"/>
                    <a:gd name="T10" fmla="*/ 2 w 4"/>
                    <a:gd name="T11" fmla="*/ 3 h 5"/>
                    <a:gd name="T12" fmla="*/ 3 w 4"/>
                    <a:gd name="T13" fmla="*/ 3 h 5"/>
                    <a:gd name="T14" fmla="*/ 4 w 4"/>
                    <a:gd name="T15" fmla="*/ 3 h 5"/>
                    <a:gd name="T16" fmla="*/ 4 w 4"/>
                    <a:gd name="T17" fmla="*/ 3 h 5"/>
                    <a:gd name="T18" fmla="*/ 4 w 4"/>
                    <a:gd name="T19" fmla="*/ 2 h 5"/>
                    <a:gd name="T20" fmla="*/ 3 w 4"/>
                    <a:gd name="T21" fmla="*/ 1 h 5"/>
                    <a:gd name="T22" fmla="*/ 3 w 4"/>
                    <a:gd name="T23" fmla="*/ 0 h 5"/>
                    <a:gd name="T24" fmla="*/ 2 w 4"/>
                    <a:gd name="T25" fmla="*/ 0 h 5"/>
                    <a:gd name="T26" fmla="*/ 1 w 4"/>
                    <a:gd name="T27" fmla="*/ 0 h 5"/>
                    <a:gd name="T28" fmla="*/ 0 w 4"/>
                    <a:gd name="T29" fmla="*/ 0 h 5"/>
                    <a:gd name="T30" fmla="*/ 0 w 4"/>
                    <a:gd name="T31" fmla="*/ 1 h 5"/>
                    <a:gd name="T32" fmla="*/ 0 w 4"/>
                    <a:gd name="T33" fmla="*/ 2 h 5"/>
                    <a:gd name="T34" fmla="*/ 1 w 4"/>
                    <a:gd name="T35" fmla="*/ 3 h 5"/>
                    <a:gd name="T36" fmla="*/ 1 w 4"/>
                    <a:gd name="T37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" h="5">
                      <a:moveTo>
                        <a:pt x="1" y="3"/>
                      </a:moveTo>
                      <a:cubicBezTo>
                        <a:pt x="1" y="3"/>
                        <a:pt x="2" y="3"/>
                        <a:pt x="2" y="4"/>
                      </a:cubicBezTo>
                      <a:cubicBezTo>
                        <a:pt x="2" y="4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3" y="5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2" y="4"/>
                        <a:pt x="2" y="3"/>
                        <a:pt x="2" y="3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4" y="3"/>
                        <a:pt x="4" y="3"/>
                      </a:cubicBezTo>
                      <a:cubicBezTo>
                        <a:pt x="4" y="3"/>
                        <a:pt x="4" y="3"/>
                        <a:pt x="4" y="3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4" y="2"/>
                        <a:pt x="4" y="2"/>
                        <a:pt x="3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4" name="Freeform 195">
                  <a:extLst>
                    <a:ext uri="{FF2B5EF4-FFF2-40B4-BE49-F238E27FC236}">
                      <a16:creationId xmlns:a16="http://schemas.microsoft.com/office/drawing/2014/main" id="{380B63C3-0C6A-E9F3-7F6A-1FCDEF4B2FD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92526" y="4283075"/>
                  <a:ext cx="28575" cy="33338"/>
                </a:xfrm>
                <a:custGeom>
                  <a:avLst/>
                  <a:gdLst>
                    <a:gd name="T0" fmla="*/ 1 w 7"/>
                    <a:gd name="T1" fmla="*/ 4 h 8"/>
                    <a:gd name="T2" fmla="*/ 1 w 7"/>
                    <a:gd name="T3" fmla="*/ 5 h 8"/>
                    <a:gd name="T4" fmla="*/ 2 w 7"/>
                    <a:gd name="T5" fmla="*/ 4 h 8"/>
                    <a:gd name="T6" fmla="*/ 2 w 7"/>
                    <a:gd name="T7" fmla="*/ 4 h 8"/>
                    <a:gd name="T8" fmla="*/ 2 w 7"/>
                    <a:gd name="T9" fmla="*/ 3 h 8"/>
                    <a:gd name="T10" fmla="*/ 3 w 7"/>
                    <a:gd name="T11" fmla="*/ 2 h 8"/>
                    <a:gd name="T12" fmla="*/ 3 w 7"/>
                    <a:gd name="T13" fmla="*/ 3 h 8"/>
                    <a:gd name="T14" fmla="*/ 3 w 7"/>
                    <a:gd name="T15" fmla="*/ 4 h 8"/>
                    <a:gd name="T16" fmla="*/ 3 w 7"/>
                    <a:gd name="T17" fmla="*/ 5 h 8"/>
                    <a:gd name="T18" fmla="*/ 3 w 7"/>
                    <a:gd name="T19" fmla="*/ 5 h 8"/>
                    <a:gd name="T20" fmla="*/ 2 w 7"/>
                    <a:gd name="T21" fmla="*/ 5 h 8"/>
                    <a:gd name="T22" fmla="*/ 1 w 7"/>
                    <a:gd name="T23" fmla="*/ 5 h 8"/>
                    <a:gd name="T24" fmla="*/ 1 w 7"/>
                    <a:gd name="T25" fmla="*/ 6 h 8"/>
                    <a:gd name="T26" fmla="*/ 2 w 7"/>
                    <a:gd name="T27" fmla="*/ 7 h 8"/>
                    <a:gd name="T28" fmla="*/ 2 w 7"/>
                    <a:gd name="T29" fmla="*/ 8 h 8"/>
                    <a:gd name="T30" fmla="*/ 3 w 7"/>
                    <a:gd name="T31" fmla="*/ 8 h 8"/>
                    <a:gd name="T32" fmla="*/ 4 w 7"/>
                    <a:gd name="T33" fmla="*/ 8 h 8"/>
                    <a:gd name="T34" fmla="*/ 5 w 7"/>
                    <a:gd name="T35" fmla="*/ 8 h 8"/>
                    <a:gd name="T36" fmla="*/ 6 w 7"/>
                    <a:gd name="T37" fmla="*/ 8 h 8"/>
                    <a:gd name="T38" fmla="*/ 6 w 7"/>
                    <a:gd name="T39" fmla="*/ 7 h 8"/>
                    <a:gd name="T40" fmla="*/ 7 w 7"/>
                    <a:gd name="T41" fmla="*/ 6 h 8"/>
                    <a:gd name="T42" fmla="*/ 7 w 7"/>
                    <a:gd name="T43" fmla="*/ 5 h 8"/>
                    <a:gd name="T44" fmla="*/ 6 w 7"/>
                    <a:gd name="T45" fmla="*/ 4 h 8"/>
                    <a:gd name="T46" fmla="*/ 6 w 7"/>
                    <a:gd name="T47" fmla="*/ 3 h 8"/>
                    <a:gd name="T48" fmla="*/ 5 w 7"/>
                    <a:gd name="T49" fmla="*/ 3 h 8"/>
                    <a:gd name="T50" fmla="*/ 4 w 7"/>
                    <a:gd name="T51" fmla="*/ 2 h 8"/>
                    <a:gd name="T52" fmla="*/ 4 w 7"/>
                    <a:gd name="T53" fmla="*/ 2 h 8"/>
                    <a:gd name="T54" fmla="*/ 3 w 7"/>
                    <a:gd name="T55" fmla="*/ 1 h 8"/>
                    <a:gd name="T56" fmla="*/ 2 w 7"/>
                    <a:gd name="T57" fmla="*/ 0 h 8"/>
                    <a:gd name="T58" fmla="*/ 1 w 7"/>
                    <a:gd name="T59" fmla="*/ 0 h 8"/>
                    <a:gd name="T60" fmla="*/ 1 w 7"/>
                    <a:gd name="T61" fmla="*/ 0 h 8"/>
                    <a:gd name="T62" fmla="*/ 0 w 7"/>
                    <a:gd name="T63" fmla="*/ 1 h 8"/>
                    <a:gd name="T64" fmla="*/ 0 w 7"/>
                    <a:gd name="T65" fmla="*/ 2 h 8"/>
                    <a:gd name="T66" fmla="*/ 1 w 7"/>
                    <a:gd name="T67" fmla="*/ 3 h 8"/>
                    <a:gd name="T68" fmla="*/ 1 w 7"/>
                    <a:gd name="T69" fmla="*/ 4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7" h="8">
                      <a:moveTo>
                        <a:pt x="1" y="4"/>
                      </a:moveTo>
                      <a:cubicBezTo>
                        <a:pt x="1" y="4"/>
                        <a:pt x="1" y="4"/>
                        <a:pt x="1" y="5"/>
                      </a:cubicBezTo>
                      <a:cubicBezTo>
                        <a:pt x="1" y="5"/>
                        <a:pt x="2" y="5"/>
                        <a:pt x="2" y="4"/>
                      </a:cubicBezTo>
                      <a:cubicBezTo>
                        <a:pt x="2" y="4"/>
                        <a:pt x="2" y="4"/>
                        <a:pt x="2" y="4"/>
                      </a:cubicBezTo>
                      <a:cubicBezTo>
                        <a:pt x="2" y="3"/>
                        <a:pt x="2" y="3"/>
                        <a:pt x="2" y="3"/>
                      </a:cubicBezTo>
                      <a:cubicBezTo>
                        <a:pt x="2" y="3"/>
                        <a:pt x="3" y="3"/>
                        <a:pt x="3" y="2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4"/>
                        <a:pt x="3" y="4"/>
                      </a:cubicBezTo>
                      <a:cubicBezTo>
                        <a:pt x="3" y="4"/>
                        <a:pt x="3" y="5"/>
                        <a:pt x="3" y="5"/>
                      </a:cubicBezTo>
                      <a:cubicBezTo>
                        <a:pt x="3" y="5"/>
                        <a:pt x="3" y="5"/>
                        <a:pt x="3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1" y="5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2" y="6"/>
                        <a:pt x="2" y="7"/>
                        <a:pt x="2" y="7"/>
                      </a:cubicBezTo>
                      <a:cubicBezTo>
                        <a:pt x="2" y="7"/>
                        <a:pt x="2" y="7"/>
                        <a:pt x="2" y="8"/>
                      </a:cubicBezTo>
                      <a:cubicBezTo>
                        <a:pt x="2" y="8"/>
                        <a:pt x="3" y="8"/>
                        <a:pt x="3" y="8"/>
                      </a:cubicBezTo>
                      <a:cubicBezTo>
                        <a:pt x="3" y="8"/>
                        <a:pt x="4" y="8"/>
                        <a:pt x="4" y="8"/>
                      </a:cubicBezTo>
                      <a:cubicBezTo>
                        <a:pt x="4" y="8"/>
                        <a:pt x="5" y="8"/>
                        <a:pt x="5" y="8"/>
                      </a:cubicBezTo>
                      <a:cubicBezTo>
                        <a:pt x="5" y="8"/>
                        <a:pt x="6" y="8"/>
                        <a:pt x="6" y="8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6" y="6"/>
                        <a:pt x="7" y="6"/>
                        <a:pt x="7" y="6"/>
                      </a:cubicBez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6" y="4"/>
                        <a:pt x="6" y="4"/>
                        <a:pt x="6" y="4"/>
                      </a:cubicBezTo>
                      <a:cubicBezTo>
                        <a:pt x="6" y="4"/>
                        <a:pt x="6" y="3"/>
                        <a:pt x="6" y="3"/>
                      </a:cubicBezTo>
                      <a:cubicBezTo>
                        <a:pt x="5" y="3"/>
                        <a:pt x="5" y="3"/>
                        <a:pt x="5" y="3"/>
                      </a:cubicBezTo>
                      <a:cubicBezTo>
                        <a:pt x="5" y="3"/>
                        <a:pt x="4" y="3"/>
                        <a:pt x="4" y="2"/>
                      </a:cubicBezTo>
                      <a:cubicBezTo>
                        <a:pt x="4" y="2"/>
                        <a:pt x="4" y="2"/>
                        <a:pt x="4" y="2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0" y="1"/>
                        <a:pt x="0" y="2"/>
                        <a:pt x="0" y="2"/>
                      </a:cubicBezTo>
                      <a:cubicBezTo>
                        <a:pt x="0" y="2"/>
                        <a:pt x="1" y="2"/>
                        <a:pt x="1" y="3"/>
                      </a:cubicBezTo>
                      <a:cubicBezTo>
                        <a:pt x="1" y="3"/>
                        <a:pt x="1" y="4"/>
                        <a:pt x="1" y="4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5" name="Freeform 197">
                  <a:extLst>
                    <a:ext uri="{FF2B5EF4-FFF2-40B4-BE49-F238E27FC236}">
                      <a16:creationId xmlns:a16="http://schemas.microsoft.com/office/drawing/2014/main" id="{62A8D2E0-CFC9-E158-73FF-CF6D97F3BF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49664" y="4208463"/>
                  <a:ext cx="42863" cy="61913"/>
                </a:xfrm>
                <a:custGeom>
                  <a:avLst/>
                  <a:gdLst>
                    <a:gd name="T0" fmla="*/ 1 w 10"/>
                    <a:gd name="T1" fmla="*/ 9 h 15"/>
                    <a:gd name="T2" fmla="*/ 1 w 10"/>
                    <a:gd name="T3" fmla="*/ 10 h 15"/>
                    <a:gd name="T4" fmla="*/ 1 w 10"/>
                    <a:gd name="T5" fmla="*/ 10 h 15"/>
                    <a:gd name="T6" fmla="*/ 1 w 10"/>
                    <a:gd name="T7" fmla="*/ 11 h 15"/>
                    <a:gd name="T8" fmla="*/ 0 w 10"/>
                    <a:gd name="T9" fmla="*/ 11 h 15"/>
                    <a:gd name="T10" fmla="*/ 0 w 10"/>
                    <a:gd name="T11" fmla="*/ 12 h 15"/>
                    <a:gd name="T12" fmla="*/ 0 w 10"/>
                    <a:gd name="T13" fmla="*/ 13 h 15"/>
                    <a:gd name="T14" fmla="*/ 1 w 10"/>
                    <a:gd name="T15" fmla="*/ 13 h 15"/>
                    <a:gd name="T16" fmla="*/ 2 w 10"/>
                    <a:gd name="T17" fmla="*/ 14 h 15"/>
                    <a:gd name="T18" fmla="*/ 3 w 10"/>
                    <a:gd name="T19" fmla="*/ 15 h 15"/>
                    <a:gd name="T20" fmla="*/ 4 w 10"/>
                    <a:gd name="T21" fmla="*/ 15 h 15"/>
                    <a:gd name="T22" fmla="*/ 5 w 10"/>
                    <a:gd name="T23" fmla="*/ 15 h 15"/>
                    <a:gd name="T24" fmla="*/ 5 w 10"/>
                    <a:gd name="T25" fmla="*/ 14 h 15"/>
                    <a:gd name="T26" fmla="*/ 5 w 10"/>
                    <a:gd name="T27" fmla="*/ 13 h 15"/>
                    <a:gd name="T28" fmla="*/ 5 w 10"/>
                    <a:gd name="T29" fmla="*/ 12 h 15"/>
                    <a:gd name="T30" fmla="*/ 6 w 10"/>
                    <a:gd name="T31" fmla="*/ 12 h 15"/>
                    <a:gd name="T32" fmla="*/ 7 w 10"/>
                    <a:gd name="T33" fmla="*/ 11 h 15"/>
                    <a:gd name="T34" fmla="*/ 7 w 10"/>
                    <a:gd name="T35" fmla="*/ 12 h 15"/>
                    <a:gd name="T36" fmla="*/ 8 w 10"/>
                    <a:gd name="T37" fmla="*/ 12 h 15"/>
                    <a:gd name="T38" fmla="*/ 8 w 10"/>
                    <a:gd name="T39" fmla="*/ 13 h 15"/>
                    <a:gd name="T40" fmla="*/ 8 w 10"/>
                    <a:gd name="T41" fmla="*/ 13 h 15"/>
                    <a:gd name="T42" fmla="*/ 8 w 10"/>
                    <a:gd name="T43" fmla="*/ 14 h 15"/>
                    <a:gd name="T44" fmla="*/ 8 w 10"/>
                    <a:gd name="T45" fmla="*/ 14 h 15"/>
                    <a:gd name="T46" fmla="*/ 8 w 10"/>
                    <a:gd name="T47" fmla="*/ 14 h 15"/>
                    <a:gd name="T48" fmla="*/ 9 w 10"/>
                    <a:gd name="T49" fmla="*/ 14 h 15"/>
                    <a:gd name="T50" fmla="*/ 10 w 10"/>
                    <a:gd name="T51" fmla="*/ 13 h 15"/>
                    <a:gd name="T52" fmla="*/ 10 w 10"/>
                    <a:gd name="T53" fmla="*/ 12 h 15"/>
                    <a:gd name="T54" fmla="*/ 9 w 10"/>
                    <a:gd name="T55" fmla="*/ 11 h 15"/>
                    <a:gd name="T56" fmla="*/ 9 w 10"/>
                    <a:gd name="T57" fmla="*/ 10 h 15"/>
                    <a:gd name="T58" fmla="*/ 8 w 10"/>
                    <a:gd name="T59" fmla="*/ 9 h 15"/>
                    <a:gd name="T60" fmla="*/ 7 w 10"/>
                    <a:gd name="T61" fmla="*/ 8 h 15"/>
                    <a:gd name="T62" fmla="*/ 7 w 10"/>
                    <a:gd name="T63" fmla="*/ 7 h 15"/>
                    <a:gd name="T64" fmla="*/ 7 w 10"/>
                    <a:gd name="T65" fmla="*/ 7 h 15"/>
                    <a:gd name="T66" fmla="*/ 7 w 10"/>
                    <a:gd name="T67" fmla="*/ 6 h 15"/>
                    <a:gd name="T68" fmla="*/ 8 w 10"/>
                    <a:gd name="T69" fmla="*/ 6 h 15"/>
                    <a:gd name="T70" fmla="*/ 8 w 10"/>
                    <a:gd name="T71" fmla="*/ 5 h 15"/>
                    <a:gd name="T72" fmla="*/ 7 w 10"/>
                    <a:gd name="T73" fmla="*/ 4 h 15"/>
                    <a:gd name="T74" fmla="*/ 6 w 10"/>
                    <a:gd name="T75" fmla="*/ 4 h 15"/>
                    <a:gd name="T76" fmla="*/ 5 w 10"/>
                    <a:gd name="T77" fmla="*/ 4 h 15"/>
                    <a:gd name="T78" fmla="*/ 4 w 10"/>
                    <a:gd name="T79" fmla="*/ 3 h 15"/>
                    <a:gd name="T80" fmla="*/ 4 w 10"/>
                    <a:gd name="T81" fmla="*/ 2 h 15"/>
                    <a:gd name="T82" fmla="*/ 4 w 10"/>
                    <a:gd name="T83" fmla="*/ 1 h 15"/>
                    <a:gd name="T84" fmla="*/ 4 w 10"/>
                    <a:gd name="T85" fmla="*/ 1 h 15"/>
                    <a:gd name="T86" fmla="*/ 3 w 10"/>
                    <a:gd name="T87" fmla="*/ 0 h 15"/>
                    <a:gd name="T88" fmla="*/ 2 w 10"/>
                    <a:gd name="T89" fmla="*/ 1 h 15"/>
                    <a:gd name="T90" fmla="*/ 2 w 10"/>
                    <a:gd name="T91" fmla="*/ 1 h 15"/>
                    <a:gd name="T92" fmla="*/ 1 w 10"/>
                    <a:gd name="T93" fmla="*/ 2 h 15"/>
                    <a:gd name="T94" fmla="*/ 1 w 10"/>
                    <a:gd name="T95" fmla="*/ 3 h 15"/>
                    <a:gd name="T96" fmla="*/ 1 w 10"/>
                    <a:gd name="T97" fmla="*/ 4 h 15"/>
                    <a:gd name="T98" fmla="*/ 1 w 10"/>
                    <a:gd name="T99" fmla="*/ 4 h 15"/>
                    <a:gd name="T100" fmla="*/ 2 w 10"/>
                    <a:gd name="T101" fmla="*/ 5 h 15"/>
                    <a:gd name="T102" fmla="*/ 3 w 10"/>
                    <a:gd name="T103" fmla="*/ 5 h 15"/>
                    <a:gd name="T104" fmla="*/ 3 w 10"/>
                    <a:gd name="T105" fmla="*/ 6 h 15"/>
                    <a:gd name="T106" fmla="*/ 2 w 10"/>
                    <a:gd name="T107" fmla="*/ 6 h 15"/>
                    <a:gd name="T108" fmla="*/ 1 w 10"/>
                    <a:gd name="T109" fmla="*/ 6 h 15"/>
                    <a:gd name="T110" fmla="*/ 0 w 10"/>
                    <a:gd name="T111" fmla="*/ 6 h 15"/>
                    <a:gd name="T112" fmla="*/ 0 w 10"/>
                    <a:gd name="T113" fmla="*/ 6 h 15"/>
                    <a:gd name="T114" fmla="*/ 0 w 10"/>
                    <a:gd name="T115" fmla="*/ 7 h 15"/>
                    <a:gd name="T116" fmla="*/ 0 w 10"/>
                    <a:gd name="T117" fmla="*/ 7 h 15"/>
                    <a:gd name="T118" fmla="*/ 0 w 10"/>
                    <a:gd name="T119" fmla="*/ 8 h 15"/>
                    <a:gd name="T120" fmla="*/ 1 w 10"/>
                    <a:gd name="T121" fmla="*/ 9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" h="15">
                      <a:moveTo>
                        <a:pt x="1" y="9"/>
                      </a:moveTo>
                      <a:cubicBezTo>
                        <a:pt x="1" y="9"/>
                        <a:pt x="1" y="9"/>
                        <a:pt x="1" y="10"/>
                      </a:cubicBezTo>
                      <a:cubicBezTo>
                        <a:pt x="1" y="10"/>
                        <a:pt x="1" y="10"/>
                        <a:pt x="1" y="10"/>
                      </a:cubicBezTo>
                      <a:cubicBezTo>
                        <a:pt x="1" y="11"/>
                        <a:pt x="1" y="11"/>
                        <a:pt x="1" y="11"/>
                      </a:cubicBezTo>
                      <a:cubicBezTo>
                        <a:pt x="1" y="11"/>
                        <a:pt x="0" y="11"/>
                        <a:pt x="0" y="11"/>
                      </a:cubicBezTo>
                      <a:cubicBezTo>
                        <a:pt x="0" y="11"/>
                        <a:pt x="0" y="12"/>
                        <a:pt x="0" y="12"/>
                      </a:cubicBezTo>
                      <a:cubicBezTo>
                        <a:pt x="0" y="12"/>
                        <a:pt x="0" y="13"/>
                        <a:pt x="0" y="13"/>
                      </a:cubicBezTo>
                      <a:cubicBezTo>
                        <a:pt x="1" y="13"/>
                        <a:pt x="1" y="13"/>
                        <a:pt x="1" y="13"/>
                      </a:cubicBezTo>
                      <a:cubicBezTo>
                        <a:pt x="1" y="14"/>
                        <a:pt x="1" y="14"/>
                        <a:pt x="2" y="14"/>
                      </a:cubicBezTo>
                      <a:cubicBezTo>
                        <a:pt x="2" y="15"/>
                        <a:pt x="2" y="15"/>
                        <a:pt x="3" y="15"/>
                      </a:cubicBezTo>
                      <a:cubicBezTo>
                        <a:pt x="3" y="15"/>
                        <a:pt x="3" y="15"/>
                        <a:pt x="4" y="15"/>
                      </a:cubicBezTo>
                      <a:cubicBezTo>
                        <a:pt x="4" y="15"/>
                        <a:pt x="4" y="15"/>
                        <a:pt x="5" y="15"/>
                      </a:cubicBezTo>
                      <a:cubicBezTo>
                        <a:pt x="5" y="14"/>
                        <a:pt x="5" y="14"/>
                        <a:pt x="5" y="14"/>
                      </a:cubicBezTo>
                      <a:cubicBezTo>
                        <a:pt x="5" y="14"/>
                        <a:pt x="5" y="13"/>
                        <a:pt x="5" y="13"/>
                      </a:cubicBezTo>
                      <a:cubicBezTo>
                        <a:pt x="5" y="13"/>
                        <a:pt x="5" y="12"/>
                        <a:pt x="5" y="12"/>
                      </a:cubicBez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6" y="11"/>
                        <a:pt x="6" y="11"/>
                        <a:pt x="7" y="11"/>
                      </a:cubicBezTo>
                      <a:cubicBezTo>
                        <a:pt x="7" y="11"/>
                        <a:pt x="7" y="11"/>
                        <a:pt x="7" y="12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12"/>
                        <a:pt x="8" y="13"/>
                        <a:pt x="8" y="13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9" y="14"/>
                        <a:pt x="9" y="14"/>
                        <a:pt x="9" y="14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2"/>
                        <a:pt x="10" y="12"/>
                        <a:pt x="10" y="12"/>
                      </a:cubicBezTo>
                      <a:cubicBezTo>
                        <a:pt x="10" y="11"/>
                        <a:pt x="10" y="11"/>
                        <a:pt x="9" y="11"/>
                      </a:cubicBezTo>
                      <a:cubicBezTo>
                        <a:pt x="9" y="10"/>
                        <a:pt x="9" y="10"/>
                        <a:pt x="9" y="10"/>
                      </a:cubicBezTo>
                      <a:cubicBezTo>
                        <a:pt x="8" y="10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7" y="8"/>
                      </a:cubicBezTo>
                      <a:cubicBezTo>
                        <a:pt x="7" y="8"/>
                        <a:pt x="7" y="8"/>
                        <a:pt x="7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7" y="4"/>
                        <a:pt x="7" y="4"/>
                      </a:cubicBezTo>
                      <a:cubicBezTo>
                        <a:pt x="7" y="4"/>
                        <a:pt x="7" y="4"/>
                        <a:pt x="6" y="4"/>
                      </a:cubicBezTo>
                      <a:cubicBezTo>
                        <a:pt x="6" y="4"/>
                        <a:pt x="6" y="4"/>
                        <a:pt x="5" y="4"/>
                      </a:cubicBezTo>
                      <a:cubicBezTo>
                        <a:pt x="5" y="4"/>
                        <a:pt x="5" y="3"/>
                        <a:pt x="4" y="3"/>
                      </a:cubicBezTo>
                      <a:cubicBezTo>
                        <a:pt x="4" y="3"/>
                        <a:pt x="4" y="2"/>
                        <a:pt x="4" y="2"/>
                      </a:cubicBezTo>
                      <a:cubicBezTo>
                        <a:pt x="4" y="2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0"/>
                        <a:pt x="3" y="0"/>
                        <a:pt x="3" y="0"/>
                      </a:cubicBezTo>
                      <a:cubicBezTo>
                        <a:pt x="3" y="1"/>
                        <a:pt x="3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4"/>
                        <a:pt x="1" y="4"/>
                      </a:cubicBezTo>
                      <a:cubicBezTo>
                        <a:pt x="1" y="4"/>
                        <a:pt x="1" y="4"/>
                        <a:pt x="1" y="4"/>
                      </a:cubicBezTo>
                      <a:cubicBezTo>
                        <a:pt x="2" y="4"/>
                        <a:pt x="2" y="4"/>
                        <a:pt x="2" y="5"/>
                      </a:cubicBezTo>
                      <a:cubicBezTo>
                        <a:pt x="2" y="5"/>
                        <a:pt x="2" y="5"/>
                        <a:pt x="3" y="5"/>
                      </a:cubicBezTo>
                      <a:cubicBezTo>
                        <a:pt x="3" y="5"/>
                        <a:pt x="3" y="5"/>
                        <a:pt x="3" y="6"/>
                      </a:cubicBezTo>
                      <a:cubicBezTo>
                        <a:pt x="2" y="6"/>
                        <a:pt x="2" y="6"/>
                        <a:pt x="2" y="6"/>
                      </a:cubicBezTo>
                      <a:cubicBezTo>
                        <a:pt x="2" y="6"/>
                        <a:pt x="2" y="6"/>
                        <a:pt x="1" y="6"/>
                      </a:cubicBezTo>
                      <a:cubicBezTo>
                        <a:pt x="1" y="6"/>
                        <a:pt x="1" y="6"/>
                        <a:pt x="0" y="6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7"/>
                        <a:pt x="0" y="8"/>
                        <a:pt x="0" y="8"/>
                      </a:cubicBezTo>
                      <a:cubicBezTo>
                        <a:pt x="0" y="8"/>
                        <a:pt x="0" y="8"/>
                        <a:pt x="1" y="9"/>
                      </a:cubicBezTo>
                      <a:close/>
                    </a:path>
                  </a:pathLst>
                </a:custGeom>
                <a:solidFill>
                  <a:srgbClr val="BFBFBF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56" name="Freeform 198">
                  <a:extLst>
                    <a:ext uri="{FF2B5EF4-FFF2-40B4-BE49-F238E27FC236}">
                      <a16:creationId xmlns:a16="http://schemas.microsoft.com/office/drawing/2014/main" id="{CEC87481-0C8C-D24D-18BF-2827B0087E0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82939" y="4183063"/>
                  <a:ext cx="596900" cy="863600"/>
                </a:xfrm>
                <a:custGeom>
                  <a:avLst/>
                  <a:gdLst>
                    <a:gd name="T0" fmla="*/ 138 w 143"/>
                    <a:gd name="T1" fmla="*/ 89 h 207"/>
                    <a:gd name="T2" fmla="*/ 138 w 143"/>
                    <a:gd name="T3" fmla="*/ 77 h 207"/>
                    <a:gd name="T4" fmla="*/ 133 w 143"/>
                    <a:gd name="T5" fmla="*/ 64 h 207"/>
                    <a:gd name="T6" fmla="*/ 133 w 143"/>
                    <a:gd name="T7" fmla="*/ 49 h 207"/>
                    <a:gd name="T8" fmla="*/ 127 w 143"/>
                    <a:gd name="T9" fmla="*/ 35 h 207"/>
                    <a:gd name="T10" fmla="*/ 121 w 143"/>
                    <a:gd name="T11" fmla="*/ 27 h 207"/>
                    <a:gd name="T12" fmla="*/ 113 w 143"/>
                    <a:gd name="T13" fmla="*/ 22 h 207"/>
                    <a:gd name="T14" fmla="*/ 107 w 143"/>
                    <a:gd name="T15" fmla="*/ 17 h 207"/>
                    <a:gd name="T16" fmla="*/ 103 w 143"/>
                    <a:gd name="T17" fmla="*/ 17 h 207"/>
                    <a:gd name="T18" fmla="*/ 100 w 143"/>
                    <a:gd name="T19" fmla="*/ 18 h 207"/>
                    <a:gd name="T20" fmla="*/ 91 w 143"/>
                    <a:gd name="T21" fmla="*/ 24 h 207"/>
                    <a:gd name="T22" fmla="*/ 85 w 143"/>
                    <a:gd name="T23" fmla="*/ 30 h 207"/>
                    <a:gd name="T24" fmla="*/ 76 w 143"/>
                    <a:gd name="T25" fmla="*/ 33 h 207"/>
                    <a:gd name="T26" fmla="*/ 78 w 143"/>
                    <a:gd name="T27" fmla="*/ 26 h 207"/>
                    <a:gd name="T28" fmla="*/ 74 w 143"/>
                    <a:gd name="T29" fmla="*/ 18 h 207"/>
                    <a:gd name="T30" fmla="*/ 64 w 143"/>
                    <a:gd name="T31" fmla="*/ 14 h 207"/>
                    <a:gd name="T32" fmla="*/ 65 w 143"/>
                    <a:gd name="T33" fmla="*/ 7 h 207"/>
                    <a:gd name="T34" fmla="*/ 51 w 143"/>
                    <a:gd name="T35" fmla="*/ 1 h 207"/>
                    <a:gd name="T36" fmla="*/ 46 w 143"/>
                    <a:gd name="T37" fmla="*/ 8 h 207"/>
                    <a:gd name="T38" fmla="*/ 45 w 143"/>
                    <a:gd name="T39" fmla="*/ 17 h 207"/>
                    <a:gd name="T40" fmla="*/ 47 w 143"/>
                    <a:gd name="T41" fmla="*/ 23 h 207"/>
                    <a:gd name="T42" fmla="*/ 51 w 143"/>
                    <a:gd name="T43" fmla="*/ 31 h 207"/>
                    <a:gd name="T44" fmla="*/ 44 w 143"/>
                    <a:gd name="T45" fmla="*/ 31 h 207"/>
                    <a:gd name="T46" fmla="*/ 39 w 143"/>
                    <a:gd name="T47" fmla="*/ 38 h 207"/>
                    <a:gd name="T48" fmla="*/ 36 w 143"/>
                    <a:gd name="T49" fmla="*/ 38 h 207"/>
                    <a:gd name="T50" fmla="*/ 27 w 143"/>
                    <a:gd name="T51" fmla="*/ 36 h 207"/>
                    <a:gd name="T52" fmla="*/ 20 w 143"/>
                    <a:gd name="T53" fmla="*/ 41 h 207"/>
                    <a:gd name="T54" fmla="*/ 24 w 143"/>
                    <a:gd name="T55" fmla="*/ 46 h 207"/>
                    <a:gd name="T56" fmla="*/ 20 w 143"/>
                    <a:gd name="T57" fmla="*/ 60 h 207"/>
                    <a:gd name="T58" fmla="*/ 14 w 143"/>
                    <a:gd name="T59" fmla="*/ 66 h 207"/>
                    <a:gd name="T60" fmla="*/ 19 w 143"/>
                    <a:gd name="T61" fmla="*/ 74 h 207"/>
                    <a:gd name="T62" fmla="*/ 11 w 143"/>
                    <a:gd name="T63" fmla="*/ 82 h 207"/>
                    <a:gd name="T64" fmla="*/ 1 w 143"/>
                    <a:gd name="T65" fmla="*/ 85 h 207"/>
                    <a:gd name="T66" fmla="*/ 2 w 143"/>
                    <a:gd name="T67" fmla="*/ 99 h 207"/>
                    <a:gd name="T68" fmla="*/ 1 w 143"/>
                    <a:gd name="T69" fmla="*/ 109 h 207"/>
                    <a:gd name="T70" fmla="*/ 4 w 143"/>
                    <a:gd name="T71" fmla="*/ 119 h 207"/>
                    <a:gd name="T72" fmla="*/ 0 w 143"/>
                    <a:gd name="T73" fmla="*/ 132 h 207"/>
                    <a:gd name="T74" fmla="*/ 4 w 143"/>
                    <a:gd name="T75" fmla="*/ 144 h 207"/>
                    <a:gd name="T76" fmla="*/ 9 w 143"/>
                    <a:gd name="T77" fmla="*/ 155 h 207"/>
                    <a:gd name="T78" fmla="*/ 18 w 143"/>
                    <a:gd name="T79" fmla="*/ 156 h 207"/>
                    <a:gd name="T80" fmla="*/ 30 w 143"/>
                    <a:gd name="T81" fmla="*/ 160 h 207"/>
                    <a:gd name="T82" fmla="*/ 26 w 143"/>
                    <a:gd name="T83" fmla="*/ 172 h 207"/>
                    <a:gd name="T84" fmla="*/ 20 w 143"/>
                    <a:gd name="T85" fmla="*/ 190 h 207"/>
                    <a:gd name="T86" fmla="*/ 23 w 143"/>
                    <a:gd name="T87" fmla="*/ 199 h 207"/>
                    <a:gd name="T88" fmla="*/ 33 w 143"/>
                    <a:gd name="T89" fmla="*/ 198 h 207"/>
                    <a:gd name="T90" fmla="*/ 37 w 143"/>
                    <a:gd name="T91" fmla="*/ 193 h 207"/>
                    <a:gd name="T92" fmla="*/ 43 w 143"/>
                    <a:gd name="T93" fmla="*/ 195 h 207"/>
                    <a:gd name="T94" fmla="*/ 45 w 143"/>
                    <a:gd name="T95" fmla="*/ 193 h 207"/>
                    <a:gd name="T96" fmla="*/ 58 w 143"/>
                    <a:gd name="T97" fmla="*/ 199 h 207"/>
                    <a:gd name="T98" fmla="*/ 64 w 143"/>
                    <a:gd name="T99" fmla="*/ 207 h 207"/>
                    <a:gd name="T100" fmla="*/ 70 w 143"/>
                    <a:gd name="T101" fmla="*/ 200 h 207"/>
                    <a:gd name="T102" fmla="*/ 80 w 143"/>
                    <a:gd name="T103" fmla="*/ 204 h 207"/>
                    <a:gd name="T104" fmla="*/ 97 w 143"/>
                    <a:gd name="T105" fmla="*/ 199 h 207"/>
                    <a:gd name="T106" fmla="*/ 107 w 143"/>
                    <a:gd name="T107" fmla="*/ 198 h 207"/>
                    <a:gd name="T108" fmla="*/ 113 w 143"/>
                    <a:gd name="T109" fmla="*/ 202 h 207"/>
                    <a:gd name="T110" fmla="*/ 110 w 143"/>
                    <a:gd name="T111" fmla="*/ 190 h 207"/>
                    <a:gd name="T112" fmla="*/ 115 w 143"/>
                    <a:gd name="T113" fmla="*/ 181 h 207"/>
                    <a:gd name="T114" fmla="*/ 118 w 143"/>
                    <a:gd name="T115" fmla="*/ 163 h 207"/>
                    <a:gd name="T116" fmla="*/ 104 w 143"/>
                    <a:gd name="T117" fmla="*/ 146 h 207"/>
                    <a:gd name="T118" fmla="*/ 106 w 143"/>
                    <a:gd name="T119" fmla="*/ 124 h 207"/>
                    <a:gd name="T120" fmla="*/ 130 w 143"/>
                    <a:gd name="T121" fmla="*/ 113 h 207"/>
                    <a:gd name="T122" fmla="*/ 138 w 143"/>
                    <a:gd name="T123" fmla="*/ 112 h 2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43" h="207">
                      <a:moveTo>
                        <a:pt x="142" y="99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42" y="97"/>
                        <a:pt x="142" y="97"/>
                        <a:pt x="142" y="97"/>
                      </a:cubicBezTo>
                      <a:cubicBezTo>
                        <a:pt x="142" y="97"/>
                        <a:pt x="142" y="96"/>
                        <a:pt x="142" y="96"/>
                      </a:cubicBezTo>
                      <a:cubicBezTo>
                        <a:pt x="142" y="96"/>
                        <a:pt x="142" y="96"/>
                        <a:pt x="142" y="95"/>
                      </a:cubicBezTo>
                      <a:cubicBezTo>
                        <a:pt x="142" y="95"/>
                        <a:pt x="142" y="95"/>
                        <a:pt x="142" y="94"/>
                      </a:cubicBezTo>
                      <a:cubicBezTo>
                        <a:pt x="141" y="94"/>
                        <a:pt x="141" y="94"/>
                        <a:pt x="141" y="94"/>
                      </a:cubicBezTo>
                      <a:cubicBezTo>
                        <a:pt x="140" y="93"/>
                        <a:pt x="140" y="93"/>
                        <a:pt x="139" y="93"/>
                      </a:cubicBezTo>
                      <a:cubicBezTo>
                        <a:pt x="139" y="93"/>
                        <a:pt x="139" y="93"/>
                        <a:pt x="138" y="93"/>
                      </a:cubicBezTo>
                      <a:cubicBezTo>
                        <a:pt x="138" y="93"/>
                        <a:pt x="139" y="92"/>
                        <a:pt x="139" y="92"/>
                      </a:cubicBezTo>
                      <a:cubicBezTo>
                        <a:pt x="139" y="92"/>
                        <a:pt x="139" y="92"/>
                        <a:pt x="139" y="92"/>
                      </a:cubicBezTo>
                      <a:cubicBezTo>
                        <a:pt x="139" y="91"/>
                        <a:pt x="139" y="91"/>
                        <a:pt x="139" y="91"/>
                      </a:cubicBezTo>
                      <a:cubicBezTo>
                        <a:pt x="139" y="90"/>
                        <a:pt x="139" y="90"/>
                        <a:pt x="139" y="90"/>
                      </a:cubicBezTo>
                      <a:cubicBezTo>
                        <a:pt x="139" y="90"/>
                        <a:pt x="139" y="90"/>
                        <a:pt x="138" y="90"/>
                      </a:cubicBezTo>
                      <a:cubicBezTo>
                        <a:pt x="138" y="90"/>
                        <a:pt x="138" y="89"/>
                        <a:pt x="138" y="89"/>
                      </a:cubicBezTo>
                      <a:cubicBezTo>
                        <a:pt x="138" y="89"/>
                        <a:pt x="138" y="89"/>
                        <a:pt x="138" y="89"/>
                      </a:cubicBezTo>
                      <a:cubicBezTo>
                        <a:pt x="137" y="89"/>
                        <a:pt x="137" y="89"/>
                        <a:pt x="137" y="88"/>
                      </a:cubicBezTo>
                      <a:cubicBezTo>
                        <a:pt x="137" y="88"/>
                        <a:pt x="137" y="88"/>
                        <a:pt x="137" y="88"/>
                      </a:cubicBezTo>
                      <a:cubicBezTo>
                        <a:pt x="137" y="88"/>
                        <a:pt x="137" y="88"/>
                        <a:pt x="137" y="88"/>
                      </a:cubicBezTo>
                      <a:cubicBezTo>
                        <a:pt x="137" y="87"/>
                        <a:pt x="137" y="87"/>
                        <a:pt x="137" y="87"/>
                      </a:cubicBezTo>
                      <a:cubicBezTo>
                        <a:pt x="136" y="87"/>
                        <a:pt x="136" y="87"/>
                        <a:pt x="136" y="87"/>
                      </a:cubicBezTo>
                      <a:cubicBezTo>
                        <a:pt x="136" y="86"/>
                        <a:pt x="136" y="86"/>
                        <a:pt x="136" y="86"/>
                      </a:cubicBezTo>
                      <a:cubicBezTo>
                        <a:pt x="136" y="86"/>
                        <a:pt x="136" y="85"/>
                        <a:pt x="136" y="85"/>
                      </a:cubicBezTo>
                      <a:cubicBezTo>
                        <a:pt x="136" y="85"/>
                        <a:pt x="136" y="85"/>
                        <a:pt x="137" y="84"/>
                      </a:cubicBezTo>
                      <a:cubicBezTo>
                        <a:pt x="137" y="84"/>
                        <a:pt x="137" y="84"/>
                        <a:pt x="137" y="84"/>
                      </a:cubicBezTo>
                      <a:cubicBezTo>
                        <a:pt x="137" y="84"/>
                        <a:pt x="137" y="83"/>
                        <a:pt x="137" y="83"/>
                      </a:cubicBezTo>
                      <a:cubicBezTo>
                        <a:pt x="137" y="83"/>
                        <a:pt x="137" y="83"/>
                        <a:pt x="137" y="82"/>
                      </a:cubicBezTo>
                      <a:cubicBezTo>
                        <a:pt x="137" y="82"/>
                        <a:pt x="137" y="82"/>
                        <a:pt x="137" y="81"/>
                      </a:cubicBezTo>
                      <a:cubicBezTo>
                        <a:pt x="138" y="81"/>
                        <a:pt x="138" y="81"/>
                        <a:pt x="138" y="81"/>
                      </a:cubicBezTo>
                      <a:cubicBezTo>
                        <a:pt x="138" y="80"/>
                        <a:pt x="138" y="80"/>
                        <a:pt x="138" y="80"/>
                      </a:cubicBezTo>
                      <a:cubicBezTo>
                        <a:pt x="138" y="79"/>
                        <a:pt x="138" y="79"/>
                        <a:pt x="138" y="79"/>
                      </a:cubicBezTo>
                      <a:cubicBezTo>
                        <a:pt x="138" y="78"/>
                        <a:pt x="138" y="78"/>
                        <a:pt x="138" y="77"/>
                      </a:cubicBezTo>
                      <a:cubicBezTo>
                        <a:pt x="138" y="77"/>
                        <a:pt x="138" y="77"/>
                        <a:pt x="138" y="76"/>
                      </a:cubicBezTo>
                      <a:cubicBezTo>
                        <a:pt x="137" y="75"/>
                        <a:pt x="137" y="75"/>
                        <a:pt x="137" y="75"/>
                      </a:cubicBezTo>
                      <a:cubicBezTo>
                        <a:pt x="137" y="74"/>
                        <a:pt x="137" y="74"/>
                        <a:pt x="137" y="74"/>
                      </a:cubicBezTo>
                      <a:cubicBezTo>
                        <a:pt x="137" y="74"/>
                        <a:pt x="136" y="74"/>
                        <a:pt x="136" y="74"/>
                      </a:cubicBezTo>
                      <a:cubicBezTo>
                        <a:pt x="136" y="73"/>
                        <a:pt x="136" y="73"/>
                        <a:pt x="135" y="73"/>
                      </a:cubicBezTo>
                      <a:cubicBezTo>
                        <a:pt x="135" y="73"/>
                        <a:pt x="135" y="72"/>
                        <a:pt x="135" y="72"/>
                      </a:cubicBezTo>
                      <a:cubicBezTo>
                        <a:pt x="135" y="72"/>
                        <a:pt x="135" y="72"/>
                        <a:pt x="135" y="71"/>
                      </a:cubicBezTo>
                      <a:cubicBezTo>
                        <a:pt x="135" y="71"/>
                        <a:pt x="135" y="71"/>
                        <a:pt x="135" y="70"/>
                      </a:cubicBezTo>
                      <a:cubicBezTo>
                        <a:pt x="135" y="70"/>
                        <a:pt x="135" y="70"/>
                        <a:pt x="135" y="69"/>
                      </a:cubicBezTo>
                      <a:cubicBezTo>
                        <a:pt x="135" y="69"/>
                        <a:pt x="136" y="69"/>
                        <a:pt x="136" y="69"/>
                      </a:cubicBezTo>
                      <a:cubicBezTo>
                        <a:pt x="136" y="68"/>
                        <a:pt x="136" y="68"/>
                        <a:pt x="136" y="68"/>
                      </a:cubicBezTo>
                      <a:cubicBezTo>
                        <a:pt x="136" y="68"/>
                        <a:pt x="136" y="68"/>
                        <a:pt x="136" y="67"/>
                      </a:cubicBezTo>
                      <a:cubicBezTo>
                        <a:pt x="136" y="67"/>
                        <a:pt x="136" y="67"/>
                        <a:pt x="136" y="66"/>
                      </a:cubicBezTo>
                      <a:cubicBezTo>
                        <a:pt x="136" y="66"/>
                        <a:pt x="136" y="66"/>
                        <a:pt x="135" y="66"/>
                      </a:cubicBezTo>
                      <a:cubicBezTo>
                        <a:pt x="135" y="65"/>
                        <a:pt x="135" y="65"/>
                        <a:pt x="134" y="65"/>
                      </a:cubicBezTo>
                      <a:cubicBezTo>
                        <a:pt x="134" y="64"/>
                        <a:pt x="134" y="64"/>
                        <a:pt x="133" y="64"/>
                      </a:cubicBezTo>
                      <a:cubicBezTo>
                        <a:pt x="133" y="63"/>
                        <a:pt x="133" y="63"/>
                        <a:pt x="133" y="63"/>
                      </a:cubicBezTo>
                      <a:cubicBezTo>
                        <a:pt x="132" y="62"/>
                        <a:pt x="132" y="62"/>
                        <a:pt x="132" y="62"/>
                      </a:cubicBezTo>
                      <a:cubicBezTo>
                        <a:pt x="132" y="62"/>
                        <a:pt x="131" y="62"/>
                        <a:pt x="131" y="61"/>
                      </a:cubicBezTo>
                      <a:cubicBezTo>
                        <a:pt x="131" y="61"/>
                        <a:pt x="131" y="61"/>
                        <a:pt x="131" y="61"/>
                      </a:cubicBezTo>
                      <a:cubicBezTo>
                        <a:pt x="130" y="61"/>
                        <a:pt x="130" y="60"/>
                        <a:pt x="129" y="60"/>
                      </a:cubicBezTo>
                      <a:cubicBezTo>
                        <a:pt x="129" y="60"/>
                        <a:pt x="129" y="60"/>
                        <a:pt x="129" y="60"/>
                      </a:cubicBezTo>
                      <a:cubicBezTo>
                        <a:pt x="128" y="59"/>
                        <a:pt x="128" y="59"/>
                        <a:pt x="127" y="59"/>
                      </a:cubicBezTo>
                      <a:cubicBezTo>
                        <a:pt x="127" y="59"/>
                        <a:pt x="127" y="59"/>
                        <a:pt x="127" y="58"/>
                      </a:cubicBezTo>
                      <a:cubicBezTo>
                        <a:pt x="128" y="58"/>
                        <a:pt x="128" y="58"/>
                        <a:pt x="128" y="57"/>
                      </a:cubicBezTo>
                      <a:cubicBezTo>
                        <a:pt x="128" y="57"/>
                        <a:pt x="128" y="57"/>
                        <a:pt x="128" y="57"/>
                      </a:cubicBezTo>
                      <a:cubicBezTo>
                        <a:pt x="128" y="56"/>
                        <a:pt x="129" y="56"/>
                        <a:pt x="129" y="56"/>
                      </a:cubicBezTo>
                      <a:cubicBezTo>
                        <a:pt x="129" y="56"/>
                        <a:pt x="129" y="55"/>
                        <a:pt x="130" y="55"/>
                      </a:cubicBezTo>
                      <a:cubicBezTo>
                        <a:pt x="130" y="55"/>
                        <a:pt x="130" y="54"/>
                        <a:pt x="130" y="54"/>
                      </a:cubicBezTo>
                      <a:cubicBezTo>
                        <a:pt x="130" y="53"/>
                        <a:pt x="131" y="53"/>
                        <a:pt x="131" y="52"/>
                      </a:cubicBezTo>
                      <a:cubicBezTo>
                        <a:pt x="132" y="51"/>
                        <a:pt x="132" y="51"/>
                        <a:pt x="132" y="50"/>
                      </a:cubicBezTo>
                      <a:cubicBezTo>
                        <a:pt x="132" y="50"/>
                        <a:pt x="133" y="49"/>
                        <a:pt x="133" y="49"/>
                      </a:cubicBezTo>
                      <a:cubicBezTo>
                        <a:pt x="133" y="48"/>
                        <a:pt x="133" y="48"/>
                        <a:pt x="133" y="48"/>
                      </a:cubicBezTo>
                      <a:cubicBezTo>
                        <a:pt x="132" y="47"/>
                        <a:pt x="132" y="47"/>
                        <a:pt x="132" y="47"/>
                      </a:cubicBezTo>
                      <a:cubicBezTo>
                        <a:pt x="132" y="46"/>
                        <a:pt x="132" y="46"/>
                        <a:pt x="131" y="46"/>
                      </a:cubicBezTo>
                      <a:cubicBezTo>
                        <a:pt x="131" y="45"/>
                        <a:pt x="132" y="45"/>
                        <a:pt x="132" y="45"/>
                      </a:cubicBezTo>
                      <a:cubicBezTo>
                        <a:pt x="131" y="44"/>
                        <a:pt x="131" y="44"/>
                        <a:pt x="131" y="44"/>
                      </a:cubicBezTo>
                      <a:cubicBezTo>
                        <a:pt x="131" y="43"/>
                        <a:pt x="131" y="43"/>
                        <a:pt x="131" y="43"/>
                      </a:cubicBezTo>
                      <a:cubicBezTo>
                        <a:pt x="131" y="43"/>
                        <a:pt x="131" y="43"/>
                        <a:pt x="131" y="42"/>
                      </a:cubicBezTo>
                      <a:cubicBezTo>
                        <a:pt x="131" y="42"/>
                        <a:pt x="131" y="41"/>
                        <a:pt x="131" y="41"/>
                      </a:cubicBezTo>
                      <a:cubicBezTo>
                        <a:pt x="131" y="40"/>
                        <a:pt x="130" y="40"/>
                        <a:pt x="130" y="39"/>
                      </a:cubicBezTo>
                      <a:cubicBezTo>
                        <a:pt x="130" y="39"/>
                        <a:pt x="130" y="39"/>
                        <a:pt x="130" y="38"/>
                      </a:cubicBezTo>
                      <a:cubicBezTo>
                        <a:pt x="130" y="38"/>
                        <a:pt x="130" y="38"/>
                        <a:pt x="130" y="37"/>
                      </a:cubicBezTo>
                      <a:cubicBezTo>
                        <a:pt x="130" y="37"/>
                        <a:pt x="130" y="37"/>
                        <a:pt x="130" y="36"/>
                      </a:cubicBezTo>
                      <a:cubicBezTo>
                        <a:pt x="130" y="36"/>
                        <a:pt x="129" y="36"/>
                        <a:pt x="129" y="35"/>
                      </a:cubicBezTo>
                      <a:cubicBezTo>
                        <a:pt x="129" y="35"/>
                        <a:pt x="129" y="35"/>
                        <a:pt x="129" y="35"/>
                      </a:cubicBezTo>
                      <a:cubicBezTo>
                        <a:pt x="128" y="35"/>
                        <a:pt x="128" y="35"/>
                        <a:pt x="128" y="35"/>
                      </a:cubicBezTo>
                      <a:cubicBezTo>
                        <a:pt x="127" y="35"/>
                        <a:pt x="127" y="35"/>
                        <a:pt x="127" y="35"/>
                      </a:cubicBezTo>
                      <a:cubicBezTo>
                        <a:pt x="127" y="35"/>
                        <a:pt x="127" y="35"/>
                        <a:pt x="126" y="35"/>
                      </a:cubicBezTo>
                      <a:cubicBezTo>
                        <a:pt x="126" y="35"/>
                        <a:pt x="126" y="35"/>
                        <a:pt x="126" y="34"/>
                      </a:cubicBezTo>
                      <a:cubicBezTo>
                        <a:pt x="126" y="34"/>
                        <a:pt x="126" y="34"/>
                        <a:pt x="126" y="34"/>
                      </a:cubicBezTo>
                      <a:cubicBezTo>
                        <a:pt x="126" y="34"/>
                        <a:pt x="125" y="34"/>
                        <a:pt x="125" y="34"/>
                      </a:cubicBezTo>
                      <a:cubicBezTo>
                        <a:pt x="125" y="34"/>
                        <a:pt x="125" y="34"/>
                        <a:pt x="124" y="34"/>
                      </a:cubicBezTo>
                      <a:cubicBezTo>
                        <a:pt x="124" y="34"/>
                        <a:pt x="124" y="34"/>
                        <a:pt x="123" y="33"/>
                      </a:cubicBezTo>
                      <a:cubicBezTo>
                        <a:pt x="123" y="33"/>
                        <a:pt x="123" y="33"/>
                        <a:pt x="123" y="33"/>
                      </a:cubicBezTo>
                      <a:cubicBezTo>
                        <a:pt x="123" y="33"/>
                        <a:pt x="123" y="32"/>
                        <a:pt x="123" y="32"/>
                      </a:cubicBezTo>
                      <a:cubicBezTo>
                        <a:pt x="123" y="32"/>
                        <a:pt x="123" y="31"/>
                        <a:pt x="123" y="31"/>
                      </a:cubicBezTo>
                      <a:cubicBezTo>
                        <a:pt x="123" y="31"/>
                        <a:pt x="122" y="31"/>
                        <a:pt x="122" y="30"/>
                      </a:cubicBezTo>
                      <a:cubicBezTo>
                        <a:pt x="122" y="30"/>
                        <a:pt x="122" y="30"/>
                        <a:pt x="122" y="30"/>
                      </a:cubicBezTo>
                      <a:cubicBezTo>
                        <a:pt x="122" y="29"/>
                        <a:pt x="122" y="29"/>
                        <a:pt x="122" y="29"/>
                      </a:cubicBezTo>
                      <a:cubicBezTo>
                        <a:pt x="122" y="29"/>
                        <a:pt x="122" y="29"/>
                        <a:pt x="122" y="28"/>
                      </a:cubicBezTo>
                      <a:cubicBezTo>
                        <a:pt x="122" y="28"/>
                        <a:pt x="122" y="28"/>
                        <a:pt x="122" y="28"/>
                      </a:cubicBezTo>
                      <a:cubicBezTo>
                        <a:pt x="122" y="28"/>
                        <a:pt x="122" y="28"/>
                        <a:pt x="121" y="27"/>
                      </a:cubicBezTo>
                      <a:cubicBezTo>
                        <a:pt x="121" y="27"/>
                        <a:pt x="121" y="27"/>
                        <a:pt x="121" y="27"/>
                      </a:cubicBezTo>
                      <a:cubicBezTo>
                        <a:pt x="121" y="26"/>
                        <a:pt x="121" y="26"/>
                        <a:pt x="121" y="26"/>
                      </a:cubicBezTo>
                      <a:cubicBezTo>
                        <a:pt x="121" y="26"/>
                        <a:pt x="121" y="26"/>
                        <a:pt x="121" y="25"/>
                      </a:cubicBezTo>
                      <a:cubicBezTo>
                        <a:pt x="121" y="25"/>
                        <a:pt x="121" y="25"/>
                        <a:pt x="122" y="25"/>
                      </a:cubicBezTo>
                      <a:cubicBezTo>
                        <a:pt x="122" y="24"/>
                        <a:pt x="122" y="24"/>
                        <a:pt x="122" y="24"/>
                      </a:cubicBezTo>
                      <a:cubicBezTo>
                        <a:pt x="121" y="24"/>
                        <a:pt x="121" y="24"/>
                        <a:pt x="121" y="23"/>
                      </a:cubicBezTo>
                      <a:cubicBezTo>
                        <a:pt x="121" y="23"/>
                        <a:pt x="121" y="23"/>
                        <a:pt x="120" y="23"/>
                      </a:cubicBezTo>
                      <a:cubicBezTo>
                        <a:pt x="120" y="23"/>
                        <a:pt x="120" y="23"/>
                        <a:pt x="119" y="23"/>
                      </a:cubicBezTo>
                      <a:cubicBezTo>
                        <a:pt x="119" y="23"/>
                        <a:pt x="119" y="23"/>
                        <a:pt x="118" y="23"/>
                      </a:cubicBezTo>
                      <a:cubicBezTo>
                        <a:pt x="118" y="23"/>
                        <a:pt x="117" y="23"/>
                        <a:pt x="117" y="23"/>
                      </a:cubicBezTo>
                      <a:cubicBezTo>
                        <a:pt x="117" y="23"/>
                        <a:pt x="117" y="24"/>
                        <a:pt x="117" y="24"/>
                      </a:cubicBezTo>
                      <a:cubicBezTo>
                        <a:pt x="117" y="24"/>
                        <a:pt x="117" y="24"/>
                        <a:pt x="116" y="24"/>
                      </a:cubicBezTo>
                      <a:cubicBezTo>
                        <a:pt x="116" y="24"/>
                        <a:pt x="116" y="24"/>
                        <a:pt x="116" y="23"/>
                      </a:cubicBezTo>
                      <a:cubicBezTo>
                        <a:pt x="116" y="23"/>
                        <a:pt x="116" y="23"/>
                        <a:pt x="116" y="23"/>
                      </a:cubicBezTo>
                      <a:cubicBezTo>
                        <a:pt x="115" y="22"/>
                        <a:pt x="115" y="22"/>
                        <a:pt x="115" y="22"/>
                      </a:cubicBezTo>
                      <a:cubicBezTo>
                        <a:pt x="115" y="22"/>
                        <a:pt x="114" y="22"/>
                        <a:pt x="114" y="22"/>
                      </a:cubicBezTo>
                      <a:cubicBezTo>
                        <a:pt x="114" y="22"/>
                        <a:pt x="114" y="22"/>
                        <a:pt x="113" y="22"/>
                      </a:cubicBezTo>
                      <a:cubicBezTo>
                        <a:pt x="113" y="22"/>
                        <a:pt x="113" y="22"/>
                        <a:pt x="113" y="21"/>
                      </a:cubicBezTo>
                      <a:cubicBezTo>
                        <a:pt x="112" y="21"/>
                        <a:pt x="112" y="21"/>
                        <a:pt x="111" y="21"/>
                      </a:cubicBezTo>
                      <a:cubicBezTo>
                        <a:pt x="111" y="21"/>
                        <a:pt x="111" y="20"/>
                        <a:pt x="111" y="20"/>
                      </a:cubicBezTo>
                      <a:cubicBezTo>
                        <a:pt x="111" y="20"/>
                        <a:pt x="111" y="20"/>
                        <a:pt x="111" y="19"/>
                      </a:cubicBezTo>
                      <a:cubicBezTo>
                        <a:pt x="111" y="19"/>
                        <a:pt x="111" y="19"/>
                        <a:pt x="111" y="19"/>
                      </a:cubicBezTo>
                      <a:cubicBezTo>
                        <a:pt x="111" y="19"/>
                        <a:pt x="111" y="18"/>
                        <a:pt x="111" y="18"/>
                      </a:cubicBezTo>
                      <a:cubicBezTo>
                        <a:pt x="111" y="18"/>
                        <a:pt x="111" y="18"/>
                        <a:pt x="111" y="17"/>
                      </a:cubicBezTo>
                      <a:cubicBezTo>
                        <a:pt x="111" y="17"/>
                        <a:pt x="111" y="17"/>
                        <a:pt x="111" y="16"/>
                      </a:cubicBezTo>
                      <a:cubicBezTo>
                        <a:pt x="110" y="16"/>
                        <a:pt x="110" y="16"/>
                        <a:pt x="110" y="16"/>
                      </a:cubicBezTo>
                      <a:cubicBezTo>
                        <a:pt x="110" y="16"/>
                        <a:pt x="110" y="16"/>
                        <a:pt x="110" y="16"/>
                      </a:cubicBezTo>
                      <a:cubicBezTo>
                        <a:pt x="110" y="16"/>
                        <a:pt x="109" y="16"/>
                        <a:pt x="109" y="17"/>
                      </a:cubicBezTo>
                      <a:cubicBezTo>
                        <a:pt x="109" y="16"/>
                        <a:pt x="109" y="16"/>
                        <a:pt x="109" y="16"/>
                      </a:cubicBezTo>
                      <a:cubicBezTo>
                        <a:pt x="109" y="16"/>
                        <a:pt x="109" y="16"/>
                        <a:pt x="108" y="16"/>
                      </a:cubicBezTo>
                      <a:cubicBezTo>
                        <a:pt x="108" y="16"/>
                        <a:pt x="108" y="16"/>
                        <a:pt x="108" y="16"/>
                      </a:cubicBezTo>
                      <a:cubicBezTo>
                        <a:pt x="108" y="17"/>
                        <a:pt x="108" y="17"/>
                        <a:pt x="108" y="17"/>
                      </a:cubicBezTo>
                      <a:cubicBezTo>
                        <a:pt x="107" y="17"/>
                        <a:pt x="107" y="17"/>
                        <a:pt x="107" y="17"/>
                      </a:cubicBezTo>
                      <a:cubicBezTo>
                        <a:pt x="107" y="17"/>
                        <a:pt x="107" y="17"/>
                        <a:pt x="107" y="17"/>
                      </a:cubicBezTo>
                      <a:cubicBezTo>
                        <a:pt x="107" y="17"/>
                        <a:pt x="106" y="17"/>
                        <a:pt x="106" y="17"/>
                      </a:cubicBezTo>
                      <a:cubicBezTo>
                        <a:pt x="106" y="17"/>
                        <a:pt x="106" y="17"/>
                        <a:pt x="106" y="17"/>
                      </a:cubicBezTo>
                      <a:cubicBezTo>
                        <a:pt x="106" y="17"/>
                        <a:pt x="105" y="17"/>
                        <a:pt x="105" y="17"/>
                      </a:cubicBezTo>
                      <a:cubicBezTo>
                        <a:pt x="105" y="17"/>
                        <a:pt x="105" y="17"/>
                        <a:pt x="104" y="17"/>
                      </a:cubicBezTo>
                      <a:cubicBezTo>
                        <a:pt x="104" y="17"/>
                        <a:pt x="104" y="17"/>
                        <a:pt x="104" y="17"/>
                      </a:cubicBezTo>
                      <a:cubicBezTo>
                        <a:pt x="104" y="17"/>
                        <a:pt x="104" y="17"/>
                        <a:pt x="103" y="18"/>
                      </a:cubicBezTo>
                      <a:cubicBezTo>
                        <a:pt x="103" y="18"/>
                        <a:pt x="103" y="18"/>
                        <a:pt x="103" y="19"/>
                      </a:cubicBezTo>
                      <a:cubicBezTo>
                        <a:pt x="103" y="19"/>
                        <a:pt x="103" y="19"/>
                        <a:pt x="102" y="20"/>
                      </a:cubicBezTo>
                      <a:cubicBezTo>
                        <a:pt x="102" y="20"/>
                        <a:pt x="102" y="20"/>
                        <a:pt x="102" y="20"/>
                      </a:cubicBezTo>
                      <a:cubicBezTo>
                        <a:pt x="102" y="21"/>
                        <a:pt x="102" y="21"/>
                        <a:pt x="102" y="21"/>
                      </a:cubicBezTo>
                      <a:cubicBezTo>
                        <a:pt x="102" y="21"/>
                        <a:pt x="102" y="21"/>
                        <a:pt x="101" y="20"/>
                      </a:cubicBezTo>
                      <a:cubicBezTo>
                        <a:pt x="102" y="20"/>
                        <a:pt x="102" y="20"/>
                        <a:pt x="102" y="19"/>
                      </a:cubicBezTo>
                      <a:cubicBezTo>
                        <a:pt x="102" y="19"/>
                        <a:pt x="102" y="19"/>
                        <a:pt x="102" y="19"/>
                      </a:cubicBezTo>
                      <a:cubicBezTo>
                        <a:pt x="102" y="18"/>
                        <a:pt x="102" y="18"/>
                        <a:pt x="102" y="18"/>
                      </a:cubicBezTo>
                      <a:cubicBezTo>
                        <a:pt x="102" y="17"/>
                        <a:pt x="102" y="17"/>
                        <a:pt x="103" y="17"/>
                      </a:cubicBezTo>
                      <a:cubicBezTo>
                        <a:pt x="103" y="17"/>
                        <a:pt x="103" y="16"/>
                        <a:pt x="103" y="16"/>
                      </a:cubicBezTo>
                      <a:cubicBezTo>
                        <a:pt x="104" y="16"/>
                        <a:pt x="104" y="16"/>
                        <a:pt x="104" y="16"/>
                      </a:cubicBezTo>
                      <a:cubicBezTo>
                        <a:pt x="105" y="16"/>
                        <a:pt x="105" y="16"/>
                        <a:pt x="106" y="15"/>
                      </a:cubicBezTo>
                      <a:cubicBezTo>
                        <a:pt x="106" y="15"/>
                        <a:pt x="106" y="15"/>
                        <a:pt x="107" y="15"/>
                      </a:cubicBezTo>
                      <a:cubicBezTo>
                        <a:pt x="107" y="15"/>
                        <a:pt x="107" y="15"/>
                        <a:pt x="107" y="15"/>
                      </a:cubicBezTo>
                      <a:cubicBezTo>
                        <a:pt x="106" y="15"/>
                        <a:pt x="106" y="15"/>
                        <a:pt x="106" y="15"/>
                      </a:cubicBezTo>
                      <a:cubicBezTo>
                        <a:pt x="105" y="15"/>
                        <a:pt x="105" y="15"/>
                        <a:pt x="105" y="15"/>
                      </a:cubicBezTo>
                      <a:cubicBezTo>
                        <a:pt x="105" y="14"/>
                        <a:pt x="104" y="14"/>
                        <a:pt x="104" y="14"/>
                      </a:cubicBezTo>
                      <a:cubicBezTo>
                        <a:pt x="104" y="14"/>
                        <a:pt x="104" y="14"/>
                        <a:pt x="103" y="14"/>
                      </a:cubicBezTo>
                      <a:cubicBezTo>
                        <a:pt x="103" y="14"/>
                        <a:pt x="103" y="14"/>
                        <a:pt x="102" y="14"/>
                      </a:cubicBezTo>
                      <a:cubicBezTo>
                        <a:pt x="102" y="14"/>
                        <a:pt x="102" y="14"/>
                        <a:pt x="102" y="15"/>
                      </a:cubicBezTo>
                      <a:cubicBezTo>
                        <a:pt x="101" y="15"/>
                        <a:pt x="101" y="15"/>
                        <a:pt x="101" y="15"/>
                      </a:cubicBezTo>
                      <a:cubicBezTo>
                        <a:pt x="101" y="15"/>
                        <a:pt x="101" y="16"/>
                        <a:pt x="101" y="16"/>
                      </a:cubicBezTo>
                      <a:cubicBezTo>
                        <a:pt x="101" y="16"/>
                        <a:pt x="101" y="16"/>
                        <a:pt x="101" y="17"/>
                      </a:cubicBezTo>
                      <a:cubicBezTo>
                        <a:pt x="101" y="17"/>
                        <a:pt x="101" y="17"/>
                        <a:pt x="101" y="18"/>
                      </a:cubicBezTo>
                      <a:cubicBezTo>
                        <a:pt x="100" y="18"/>
                        <a:pt x="100" y="18"/>
                        <a:pt x="100" y="18"/>
                      </a:cubicBezTo>
                      <a:cubicBezTo>
                        <a:pt x="100" y="19"/>
                        <a:pt x="99" y="19"/>
                        <a:pt x="99" y="20"/>
                      </a:cubicBezTo>
                      <a:cubicBezTo>
                        <a:pt x="98" y="21"/>
                        <a:pt x="98" y="21"/>
                        <a:pt x="97" y="22"/>
                      </a:cubicBezTo>
                      <a:cubicBezTo>
                        <a:pt x="97" y="22"/>
                        <a:pt x="97" y="22"/>
                        <a:pt x="97" y="23"/>
                      </a:cubicBezTo>
                      <a:cubicBezTo>
                        <a:pt x="97" y="23"/>
                        <a:pt x="97" y="23"/>
                        <a:pt x="97" y="24"/>
                      </a:cubicBezTo>
                      <a:cubicBezTo>
                        <a:pt x="97" y="24"/>
                        <a:pt x="97" y="24"/>
                        <a:pt x="97" y="24"/>
                      </a:cubicBezTo>
                      <a:cubicBezTo>
                        <a:pt x="97" y="24"/>
                        <a:pt x="96" y="24"/>
                        <a:pt x="96" y="24"/>
                      </a:cubicBezTo>
                      <a:cubicBezTo>
                        <a:pt x="96" y="24"/>
                        <a:pt x="96" y="24"/>
                        <a:pt x="96" y="24"/>
                      </a:cubicBezTo>
                      <a:cubicBezTo>
                        <a:pt x="96" y="24"/>
                        <a:pt x="96" y="24"/>
                        <a:pt x="96" y="24"/>
                      </a:cubicBezTo>
                      <a:cubicBezTo>
                        <a:pt x="96" y="23"/>
                        <a:pt x="96" y="23"/>
                        <a:pt x="96" y="23"/>
                      </a:cubicBezTo>
                      <a:cubicBezTo>
                        <a:pt x="95" y="23"/>
                        <a:pt x="95" y="23"/>
                        <a:pt x="95" y="23"/>
                      </a:cubicBezTo>
                      <a:cubicBezTo>
                        <a:pt x="95" y="23"/>
                        <a:pt x="95" y="23"/>
                        <a:pt x="95" y="23"/>
                      </a:cubicBezTo>
                      <a:cubicBezTo>
                        <a:pt x="95" y="23"/>
                        <a:pt x="94" y="23"/>
                        <a:pt x="94" y="23"/>
                      </a:cubicBezTo>
                      <a:cubicBezTo>
                        <a:pt x="94" y="24"/>
                        <a:pt x="94" y="24"/>
                        <a:pt x="94" y="24"/>
                      </a:cubicBezTo>
                      <a:cubicBezTo>
                        <a:pt x="94" y="24"/>
                        <a:pt x="94" y="24"/>
                        <a:pt x="93" y="25"/>
                      </a:cubicBezTo>
                      <a:cubicBezTo>
                        <a:pt x="93" y="25"/>
                        <a:pt x="93" y="24"/>
                        <a:pt x="93" y="24"/>
                      </a:cubicBezTo>
                      <a:cubicBezTo>
                        <a:pt x="92" y="24"/>
                        <a:pt x="92" y="24"/>
                        <a:pt x="91" y="24"/>
                      </a:cubicBezTo>
                      <a:cubicBezTo>
                        <a:pt x="90" y="25"/>
                        <a:pt x="90" y="25"/>
                        <a:pt x="90" y="25"/>
                      </a:cubicBezTo>
                      <a:cubicBezTo>
                        <a:pt x="89" y="25"/>
                        <a:pt x="89" y="25"/>
                        <a:pt x="89" y="25"/>
                      </a:cubicBezTo>
                      <a:cubicBezTo>
                        <a:pt x="89" y="25"/>
                        <a:pt x="89" y="25"/>
                        <a:pt x="88" y="25"/>
                      </a:cubicBezTo>
                      <a:cubicBezTo>
                        <a:pt x="88" y="26"/>
                        <a:pt x="88" y="26"/>
                        <a:pt x="88" y="26"/>
                      </a:cubicBezTo>
                      <a:cubicBezTo>
                        <a:pt x="88" y="26"/>
                        <a:pt x="88" y="26"/>
                        <a:pt x="88" y="26"/>
                      </a:cubicBezTo>
                      <a:cubicBezTo>
                        <a:pt x="89" y="26"/>
                        <a:pt x="89" y="26"/>
                        <a:pt x="89" y="27"/>
                      </a:cubicBezTo>
                      <a:cubicBezTo>
                        <a:pt x="89" y="27"/>
                        <a:pt x="89" y="27"/>
                        <a:pt x="89" y="27"/>
                      </a:cubicBezTo>
                      <a:cubicBezTo>
                        <a:pt x="89" y="28"/>
                        <a:pt x="89" y="28"/>
                        <a:pt x="89" y="28"/>
                      </a:cubicBezTo>
                      <a:cubicBezTo>
                        <a:pt x="89" y="28"/>
                        <a:pt x="89" y="29"/>
                        <a:pt x="88" y="29"/>
                      </a:cubicBezTo>
                      <a:cubicBezTo>
                        <a:pt x="88" y="29"/>
                        <a:pt x="88" y="30"/>
                        <a:pt x="88" y="30"/>
                      </a:cubicBezTo>
                      <a:cubicBezTo>
                        <a:pt x="88" y="30"/>
                        <a:pt x="88" y="31"/>
                        <a:pt x="88" y="31"/>
                      </a:cubicBezTo>
                      <a:cubicBezTo>
                        <a:pt x="87" y="31"/>
                        <a:pt x="87" y="31"/>
                        <a:pt x="87" y="31"/>
                      </a:cubicBezTo>
                      <a:cubicBezTo>
                        <a:pt x="87" y="31"/>
                        <a:pt x="87" y="31"/>
                        <a:pt x="87" y="31"/>
                      </a:cubicBezTo>
                      <a:cubicBezTo>
                        <a:pt x="86" y="31"/>
                        <a:pt x="86" y="31"/>
                        <a:pt x="86" y="31"/>
                      </a:cubicBezTo>
                      <a:cubicBezTo>
                        <a:pt x="86" y="30"/>
                        <a:pt x="86" y="30"/>
                        <a:pt x="86" y="30"/>
                      </a:cubicBezTo>
                      <a:cubicBezTo>
                        <a:pt x="85" y="30"/>
                        <a:pt x="85" y="30"/>
                        <a:pt x="85" y="30"/>
                      </a:cubicBezTo>
                      <a:cubicBezTo>
                        <a:pt x="85" y="30"/>
                        <a:pt x="85" y="30"/>
                        <a:pt x="85" y="30"/>
                      </a:cubicBezTo>
                      <a:cubicBezTo>
                        <a:pt x="84" y="30"/>
                        <a:pt x="84" y="30"/>
                        <a:pt x="84" y="30"/>
                      </a:cubicBezTo>
                      <a:cubicBezTo>
                        <a:pt x="84" y="31"/>
                        <a:pt x="84" y="31"/>
                        <a:pt x="83" y="31"/>
                      </a:cubicBezTo>
                      <a:cubicBezTo>
                        <a:pt x="83" y="31"/>
                        <a:pt x="83" y="31"/>
                        <a:pt x="83" y="30"/>
                      </a:cubicBezTo>
                      <a:cubicBezTo>
                        <a:pt x="83" y="30"/>
                        <a:pt x="83" y="30"/>
                        <a:pt x="82" y="30"/>
                      </a:cubicBezTo>
                      <a:cubicBezTo>
                        <a:pt x="82" y="30"/>
                        <a:pt x="82" y="30"/>
                        <a:pt x="82" y="29"/>
                      </a:cubicBezTo>
                      <a:cubicBezTo>
                        <a:pt x="82" y="29"/>
                        <a:pt x="82" y="29"/>
                        <a:pt x="82" y="29"/>
                      </a:cubicBezTo>
                      <a:cubicBezTo>
                        <a:pt x="82" y="28"/>
                        <a:pt x="82" y="28"/>
                        <a:pt x="82" y="28"/>
                      </a:cubicBezTo>
                      <a:cubicBezTo>
                        <a:pt x="82" y="28"/>
                        <a:pt x="82" y="28"/>
                        <a:pt x="82" y="27"/>
                      </a:cubicBezTo>
                      <a:cubicBezTo>
                        <a:pt x="82" y="27"/>
                        <a:pt x="82" y="28"/>
                        <a:pt x="82" y="28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81" y="28"/>
                        <a:pt x="80" y="29"/>
                        <a:pt x="80" y="29"/>
                      </a:cubicBezTo>
                      <a:cubicBezTo>
                        <a:pt x="80" y="29"/>
                        <a:pt x="80" y="30"/>
                        <a:pt x="79" y="30"/>
                      </a:cubicBezTo>
                      <a:cubicBezTo>
                        <a:pt x="79" y="31"/>
                        <a:pt x="79" y="31"/>
                        <a:pt x="78" y="31"/>
                      </a:cubicBezTo>
                      <a:cubicBezTo>
                        <a:pt x="78" y="32"/>
                        <a:pt x="78" y="32"/>
                        <a:pt x="77" y="32"/>
                      </a:cubicBezTo>
                      <a:cubicBezTo>
                        <a:pt x="77" y="33"/>
                        <a:pt x="77" y="33"/>
                        <a:pt x="76" y="33"/>
                      </a:cubicBezTo>
                      <a:cubicBezTo>
                        <a:pt x="76" y="34"/>
                        <a:pt x="76" y="34"/>
                        <a:pt x="76" y="34"/>
                      </a:cubicBezTo>
                      <a:cubicBezTo>
                        <a:pt x="76" y="34"/>
                        <a:pt x="76" y="34"/>
                        <a:pt x="76" y="33"/>
                      </a:cubicBezTo>
                      <a:cubicBezTo>
                        <a:pt x="76" y="33"/>
                        <a:pt x="76" y="33"/>
                        <a:pt x="76" y="32"/>
                      </a:cubicBezTo>
                      <a:cubicBezTo>
                        <a:pt x="76" y="32"/>
                        <a:pt x="76" y="32"/>
                        <a:pt x="76" y="31"/>
                      </a:cubicBezTo>
                      <a:cubicBezTo>
                        <a:pt x="76" y="31"/>
                        <a:pt x="76" y="31"/>
                        <a:pt x="77" y="31"/>
                      </a:cubicBezTo>
                      <a:cubicBezTo>
                        <a:pt x="77" y="30"/>
                        <a:pt x="77" y="30"/>
                        <a:pt x="77" y="30"/>
                      </a:cubicBezTo>
                      <a:cubicBezTo>
                        <a:pt x="77" y="30"/>
                        <a:pt x="78" y="29"/>
                        <a:pt x="78" y="29"/>
                      </a:cubicBezTo>
                      <a:cubicBezTo>
                        <a:pt x="78" y="29"/>
                        <a:pt x="78" y="29"/>
                        <a:pt x="78" y="28"/>
                      </a:cubicBezTo>
                      <a:cubicBezTo>
                        <a:pt x="77" y="28"/>
                        <a:pt x="77" y="28"/>
                        <a:pt x="77" y="27"/>
                      </a:cubicBezTo>
                      <a:cubicBezTo>
                        <a:pt x="77" y="27"/>
                        <a:pt x="77" y="27"/>
                        <a:pt x="76" y="27"/>
                      </a:cubicBezTo>
                      <a:cubicBezTo>
                        <a:pt x="76" y="27"/>
                        <a:pt x="76" y="26"/>
                        <a:pt x="76" y="26"/>
                      </a:cubicBezTo>
                      <a:cubicBezTo>
                        <a:pt x="76" y="26"/>
                        <a:pt x="76" y="25"/>
                        <a:pt x="76" y="25"/>
                      </a:cubicBezTo>
                      <a:cubicBezTo>
                        <a:pt x="76" y="25"/>
                        <a:pt x="76" y="25"/>
                        <a:pt x="76" y="25"/>
                      </a:cubicBezTo>
                      <a:cubicBezTo>
                        <a:pt x="77" y="25"/>
                        <a:pt x="77" y="25"/>
                        <a:pt x="77" y="25"/>
                      </a:cubicBezTo>
                      <a:cubicBezTo>
                        <a:pt x="77" y="25"/>
                        <a:pt x="77" y="25"/>
                        <a:pt x="77" y="26"/>
                      </a:cubicBezTo>
                      <a:cubicBezTo>
                        <a:pt x="78" y="26"/>
                        <a:pt x="78" y="26"/>
                        <a:pt x="78" y="26"/>
                      </a:cubicBezTo>
                      <a:cubicBezTo>
                        <a:pt x="78" y="26"/>
                        <a:pt x="78" y="26"/>
                        <a:pt x="79" y="26"/>
                      </a:cubicBezTo>
                      <a:cubicBezTo>
                        <a:pt x="79" y="25"/>
                        <a:pt x="79" y="25"/>
                        <a:pt x="80" y="25"/>
                      </a:cubicBezTo>
                      <a:cubicBezTo>
                        <a:pt x="80" y="24"/>
                        <a:pt x="80" y="24"/>
                        <a:pt x="80" y="24"/>
                      </a:cubicBezTo>
                      <a:cubicBezTo>
                        <a:pt x="80" y="24"/>
                        <a:pt x="80" y="23"/>
                        <a:pt x="80" y="23"/>
                      </a:cubicBezTo>
                      <a:cubicBezTo>
                        <a:pt x="80" y="22"/>
                        <a:pt x="81" y="22"/>
                        <a:pt x="81" y="21"/>
                      </a:cubicBezTo>
                      <a:cubicBezTo>
                        <a:pt x="81" y="21"/>
                        <a:pt x="81" y="21"/>
                        <a:pt x="81" y="20"/>
                      </a:cubicBezTo>
                      <a:cubicBezTo>
                        <a:pt x="81" y="19"/>
                        <a:pt x="81" y="19"/>
                        <a:pt x="81" y="18"/>
                      </a:cubicBezTo>
                      <a:cubicBezTo>
                        <a:pt x="81" y="18"/>
                        <a:pt x="81" y="18"/>
                        <a:pt x="81" y="17"/>
                      </a:cubicBezTo>
                      <a:cubicBezTo>
                        <a:pt x="81" y="17"/>
                        <a:pt x="80" y="17"/>
                        <a:pt x="80" y="16"/>
                      </a:cubicBezTo>
                      <a:cubicBezTo>
                        <a:pt x="80" y="16"/>
                        <a:pt x="79" y="16"/>
                        <a:pt x="79" y="16"/>
                      </a:cubicBezTo>
                      <a:cubicBezTo>
                        <a:pt x="79" y="17"/>
                        <a:pt x="78" y="17"/>
                        <a:pt x="78" y="17"/>
                      </a:cubicBezTo>
                      <a:cubicBezTo>
                        <a:pt x="78" y="17"/>
                        <a:pt x="78" y="17"/>
                        <a:pt x="78" y="18"/>
                      </a:cubicBezTo>
                      <a:cubicBezTo>
                        <a:pt x="77" y="18"/>
                        <a:pt x="77" y="18"/>
                        <a:pt x="77" y="19"/>
                      </a:cubicBezTo>
                      <a:cubicBezTo>
                        <a:pt x="76" y="19"/>
                        <a:pt x="76" y="19"/>
                        <a:pt x="76" y="19"/>
                      </a:cubicBezTo>
                      <a:cubicBezTo>
                        <a:pt x="75" y="18"/>
                        <a:pt x="75" y="18"/>
                        <a:pt x="74" y="18"/>
                      </a:cubicBezTo>
                      <a:cubicBezTo>
                        <a:pt x="74" y="18"/>
                        <a:pt x="74" y="18"/>
                        <a:pt x="74" y="18"/>
                      </a:cubicBezTo>
                      <a:cubicBezTo>
                        <a:pt x="73" y="17"/>
                        <a:pt x="73" y="17"/>
                        <a:pt x="72" y="17"/>
                      </a:cubicBezTo>
                      <a:cubicBezTo>
                        <a:pt x="72" y="16"/>
                        <a:pt x="72" y="16"/>
                        <a:pt x="71" y="16"/>
                      </a:cubicBezTo>
                      <a:cubicBezTo>
                        <a:pt x="71" y="15"/>
                        <a:pt x="71" y="15"/>
                        <a:pt x="71" y="15"/>
                      </a:cubicBezTo>
                      <a:cubicBezTo>
                        <a:pt x="70" y="15"/>
                        <a:pt x="70" y="15"/>
                        <a:pt x="70" y="15"/>
                      </a:cubicBezTo>
                      <a:cubicBezTo>
                        <a:pt x="70" y="16"/>
                        <a:pt x="70" y="16"/>
                        <a:pt x="70" y="16"/>
                      </a:cubicBezTo>
                      <a:cubicBezTo>
                        <a:pt x="70" y="17"/>
                        <a:pt x="69" y="17"/>
                        <a:pt x="69" y="17"/>
                      </a:cubicBezTo>
                      <a:cubicBezTo>
                        <a:pt x="69" y="17"/>
                        <a:pt x="69" y="18"/>
                        <a:pt x="69" y="18"/>
                      </a:cubicBezTo>
                      <a:cubicBezTo>
                        <a:pt x="69" y="18"/>
                        <a:pt x="69" y="18"/>
                        <a:pt x="68" y="18"/>
                      </a:cubicBezTo>
                      <a:cubicBezTo>
                        <a:pt x="68" y="17"/>
                        <a:pt x="68" y="17"/>
                        <a:pt x="68" y="17"/>
                      </a:cubicBezTo>
                      <a:cubicBezTo>
                        <a:pt x="68" y="16"/>
                        <a:pt x="68" y="16"/>
                        <a:pt x="68" y="16"/>
                      </a:cubicBezTo>
                      <a:cubicBezTo>
                        <a:pt x="68" y="15"/>
                        <a:pt x="68" y="15"/>
                        <a:pt x="67" y="15"/>
                      </a:cubicBezTo>
                      <a:cubicBezTo>
                        <a:pt x="67" y="15"/>
                        <a:pt x="67" y="15"/>
                        <a:pt x="66" y="15"/>
                      </a:cubicBezTo>
                      <a:cubicBezTo>
                        <a:pt x="66" y="15"/>
                        <a:pt x="65" y="15"/>
                        <a:pt x="65" y="15"/>
                      </a:cubicBezTo>
                      <a:cubicBezTo>
                        <a:pt x="64" y="15"/>
                        <a:pt x="64" y="15"/>
                        <a:pt x="63" y="15"/>
                      </a:cubicBezTo>
                      <a:cubicBezTo>
                        <a:pt x="63" y="15"/>
                        <a:pt x="63" y="15"/>
                        <a:pt x="63" y="14"/>
                      </a:cubicBezTo>
                      <a:cubicBezTo>
                        <a:pt x="64" y="14"/>
                        <a:pt x="64" y="14"/>
                        <a:pt x="64" y="14"/>
                      </a:cubicBezTo>
                      <a:cubicBezTo>
                        <a:pt x="64" y="14"/>
                        <a:pt x="64" y="13"/>
                        <a:pt x="64" y="13"/>
                      </a:cubicBezTo>
                      <a:cubicBezTo>
                        <a:pt x="64" y="12"/>
                        <a:pt x="64" y="12"/>
                        <a:pt x="65" y="12"/>
                      </a:cubicBezTo>
                      <a:cubicBezTo>
                        <a:pt x="64" y="11"/>
                        <a:pt x="64" y="11"/>
                        <a:pt x="64" y="10"/>
                      </a:cubicBezTo>
                      <a:cubicBezTo>
                        <a:pt x="64" y="10"/>
                        <a:pt x="64" y="10"/>
                        <a:pt x="64" y="10"/>
                      </a:cubicBezTo>
                      <a:cubicBezTo>
                        <a:pt x="64" y="10"/>
                        <a:pt x="64" y="10"/>
                        <a:pt x="64" y="10"/>
                      </a:cubicBezTo>
                      <a:cubicBezTo>
                        <a:pt x="63" y="10"/>
                        <a:pt x="63" y="10"/>
                        <a:pt x="63" y="11"/>
                      </a:cubicBezTo>
                      <a:cubicBezTo>
                        <a:pt x="63" y="11"/>
                        <a:pt x="63" y="11"/>
                        <a:pt x="63" y="11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2" y="12"/>
                        <a:pt x="62" y="12"/>
                        <a:pt x="61" y="12"/>
                      </a:cubicBezTo>
                      <a:cubicBezTo>
                        <a:pt x="61" y="12"/>
                        <a:pt x="61" y="12"/>
                        <a:pt x="60" y="12"/>
                      </a:cubicBezTo>
                      <a:cubicBezTo>
                        <a:pt x="61" y="11"/>
                        <a:pt x="61" y="11"/>
                        <a:pt x="62" y="11"/>
                      </a:cubicBezTo>
                      <a:cubicBezTo>
                        <a:pt x="62" y="11"/>
                        <a:pt x="62" y="10"/>
                        <a:pt x="62" y="10"/>
                      </a:cubicBezTo>
                      <a:cubicBezTo>
                        <a:pt x="63" y="10"/>
                        <a:pt x="63" y="10"/>
                        <a:pt x="63" y="9"/>
                      </a:cubicBezTo>
                      <a:cubicBezTo>
                        <a:pt x="63" y="9"/>
                        <a:pt x="63" y="9"/>
                        <a:pt x="64" y="9"/>
                      </a:cubicBezTo>
                      <a:cubicBezTo>
                        <a:pt x="64" y="8"/>
                        <a:pt x="64" y="8"/>
                        <a:pt x="65" y="8"/>
                      </a:cubicBezTo>
                      <a:cubicBezTo>
                        <a:pt x="65" y="8"/>
                        <a:pt x="65" y="7"/>
                        <a:pt x="65" y="7"/>
                      </a:cubicBezTo>
                      <a:cubicBezTo>
                        <a:pt x="65" y="7"/>
                        <a:pt x="65" y="6"/>
                        <a:pt x="65" y="6"/>
                      </a:cubicBezTo>
                      <a:cubicBezTo>
                        <a:pt x="65" y="5"/>
                        <a:pt x="65" y="5"/>
                        <a:pt x="65" y="5"/>
                      </a:cubicBezTo>
                      <a:cubicBezTo>
                        <a:pt x="64" y="4"/>
                        <a:pt x="64" y="4"/>
                        <a:pt x="64" y="4"/>
                      </a:cubicBezTo>
                      <a:cubicBezTo>
                        <a:pt x="63" y="4"/>
                        <a:pt x="63" y="4"/>
                        <a:pt x="63" y="3"/>
                      </a:cubicBezTo>
                      <a:cubicBezTo>
                        <a:pt x="62" y="3"/>
                        <a:pt x="62" y="3"/>
                        <a:pt x="61" y="3"/>
                      </a:cubicBezTo>
                      <a:cubicBezTo>
                        <a:pt x="61" y="3"/>
                        <a:pt x="61" y="3"/>
                        <a:pt x="60" y="3"/>
                      </a:cubicBezTo>
                      <a:cubicBezTo>
                        <a:pt x="60" y="3"/>
                        <a:pt x="60" y="3"/>
                        <a:pt x="60" y="2"/>
                      </a:cubicBezTo>
                      <a:cubicBezTo>
                        <a:pt x="60" y="2"/>
                        <a:pt x="59" y="2"/>
                        <a:pt x="59" y="2"/>
                      </a:cubicBezTo>
                      <a:cubicBezTo>
                        <a:pt x="59" y="2"/>
                        <a:pt x="59" y="2"/>
                        <a:pt x="58" y="2"/>
                      </a:cubicBezTo>
                      <a:cubicBezTo>
                        <a:pt x="58" y="2"/>
                        <a:pt x="58" y="2"/>
                        <a:pt x="57" y="2"/>
                      </a:cubicBezTo>
                      <a:cubicBezTo>
                        <a:pt x="57" y="3"/>
                        <a:pt x="57" y="3"/>
                        <a:pt x="57" y="4"/>
                      </a:cubicBezTo>
                      <a:cubicBezTo>
                        <a:pt x="57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3"/>
                      </a:cubicBezTo>
                      <a:cubicBezTo>
                        <a:pt x="54" y="3"/>
                        <a:pt x="54" y="3"/>
                        <a:pt x="53" y="2"/>
                      </a:cubicBezTo>
                      <a:cubicBezTo>
                        <a:pt x="53" y="2"/>
                        <a:pt x="52" y="2"/>
                        <a:pt x="52" y="1"/>
                      </a:cubicBezTo>
                      <a:cubicBezTo>
                        <a:pt x="51" y="1"/>
                        <a:pt x="51" y="1"/>
                        <a:pt x="51" y="1"/>
                      </a:cubicBezTo>
                      <a:cubicBezTo>
                        <a:pt x="50" y="1"/>
                        <a:pt x="50" y="1"/>
                        <a:pt x="49" y="1"/>
                      </a:cubicBezTo>
                      <a:cubicBezTo>
                        <a:pt x="49" y="1"/>
                        <a:pt x="49" y="1"/>
                        <a:pt x="49" y="2"/>
                      </a:cubicBezTo>
                      <a:cubicBezTo>
                        <a:pt x="49" y="2"/>
                        <a:pt x="49" y="2"/>
                        <a:pt x="49" y="2"/>
                      </a:cubicBezTo>
                      <a:cubicBezTo>
                        <a:pt x="48" y="2"/>
                        <a:pt x="48" y="2"/>
                        <a:pt x="48" y="1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7" y="0"/>
                        <a:pt x="47" y="0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1"/>
                      </a:cubicBezTo>
                      <a:cubicBezTo>
                        <a:pt x="44" y="1"/>
                        <a:pt x="45" y="1"/>
                        <a:pt x="45" y="2"/>
                      </a:cubicBezTo>
                      <a:cubicBezTo>
                        <a:pt x="45" y="2"/>
                        <a:pt x="45" y="2"/>
                        <a:pt x="45" y="3"/>
                      </a:cubicBezTo>
                      <a:cubicBezTo>
                        <a:pt x="45" y="3"/>
                        <a:pt x="45" y="3"/>
                        <a:pt x="45" y="3"/>
                      </a:cubicBezTo>
                      <a:cubicBezTo>
                        <a:pt x="46" y="3"/>
                        <a:pt x="46" y="3"/>
                        <a:pt x="46" y="4"/>
                      </a:cubicBezTo>
                      <a:cubicBezTo>
                        <a:pt x="46" y="4"/>
                        <a:pt x="46" y="4"/>
                        <a:pt x="47" y="5"/>
                      </a:cubicBezTo>
                      <a:cubicBezTo>
                        <a:pt x="47" y="5"/>
                        <a:pt x="47" y="5"/>
                        <a:pt x="47" y="6"/>
                      </a:cubicBezTo>
                      <a:cubicBezTo>
                        <a:pt x="46" y="6"/>
                        <a:pt x="46" y="6"/>
                        <a:pt x="46" y="7"/>
                      </a:cubicBezTo>
                      <a:cubicBezTo>
                        <a:pt x="46" y="7"/>
                        <a:pt x="46" y="7"/>
                        <a:pt x="46" y="8"/>
                      </a:cubicBezTo>
                      <a:cubicBezTo>
                        <a:pt x="46" y="8"/>
                        <a:pt x="46" y="8"/>
                        <a:pt x="46" y="8"/>
                      </a:cubicBezTo>
                      <a:cubicBezTo>
                        <a:pt x="46" y="9"/>
                        <a:pt x="47" y="9"/>
                        <a:pt x="47" y="9"/>
                      </a:cubicBezTo>
                      <a:cubicBezTo>
                        <a:pt x="47" y="9"/>
                        <a:pt x="47" y="9"/>
                        <a:pt x="47" y="9"/>
                      </a:cubicBezTo>
                      <a:cubicBezTo>
                        <a:pt x="47" y="10"/>
                        <a:pt x="47" y="10"/>
                        <a:pt x="48" y="10"/>
                      </a:cubicBezTo>
                      <a:cubicBezTo>
                        <a:pt x="48" y="10"/>
                        <a:pt x="48" y="10"/>
                        <a:pt x="49" y="10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50" y="11"/>
                        <a:pt x="50" y="11"/>
                        <a:pt x="50" y="12"/>
                      </a:cubicBezTo>
                      <a:cubicBezTo>
                        <a:pt x="50" y="12"/>
                        <a:pt x="50" y="12"/>
                        <a:pt x="50" y="13"/>
                      </a:cubicBezTo>
                      <a:cubicBezTo>
                        <a:pt x="50" y="13"/>
                        <a:pt x="50" y="13"/>
                        <a:pt x="50" y="14"/>
                      </a:cubicBezTo>
                      <a:cubicBezTo>
                        <a:pt x="50" y="14"/>
                        <a:pt x="50" y="14"/>
                        <a:pt x="50" y="15"/>
                      </a:cubicBezTo>
                      <a:cubicBezTo>
                        <a:pt x="50" y="15"/>
                        <a:pt x="50" y="15"/>
                        <a:pt x="49" y="15"/>
                      </a:cubicBezTo>
                      <a:cubicBezTo>
                        <a:pt x="49" y="16"/>
                        <a:pt x="49" y="16"/>
                        <a:pt x="49" y="16"/>
                      </a:cubicBezTo>
                      <a:cubicBezTo>
                        <a:pt x="48" y="16"/>
                        <a:pt x="48" y="16"/>
                        <a:pt x="48" y="16"/>
                      </a:cubicBezTo>
                      <a:cubicBezTo>
                        <a:pt x="48" y="16"/>
                        <a:pt x="48" y="16"/>
                        <a:pt x="47" y="16"/>
                      </a:cubicBezTo>
                      <a:cubicBezTo>
                        <a:pt x="47" y="17"/>
                        <a:pt x="47" y="17"/>
                        <a:pt x="46" y="17"/>
                      </a:cubicBezTo>
                      <a:cubicBezTo>
                        <a:pt x="46" y="17"/>
                        <a:pt x="46" y="17"/>
                        <a:pt x="45" y="17"/>
                      </a:cubicBez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5" y="18"/>
                        <a:pt x="45" y="18"/>
                        <a:pt x="44" y="19"/>
                      </a:cubicBezTo>
                      <a:cubicBezTo>
                        <a:pt x="44" y="19"/>
                        <a:pt x="44" y="19"/>
                        <a:pt x="44" y="19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6" y="20"/>
                        <a:pt x="46" y="20"/>
                        <a:pt x="46" y="19"/>
                      </a:cubicBezTo>
                      <a:cubicBezTo>
                        <a:pt x="47" y="19"/>
                        <a:pt x="47" y="19"/>
                        <a:pt x="47" y="19"/>
                      </a:cubicBezTo>
                      <a:cubicBezTo>
                        <a:pt x="48" y="19"/>
                        <a:pt x="48" y="19"/>
                        <a:pt x="48" y="18"/>
                      </a:cubicBezTo>
                      <a:cubicBezTo>
                        <a:pt x="48" y="18"/>
                        <a:pt x="48" y="18"/>
                        <a:pt x="49" y="18"/>
                      </a:cubicBez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49" y="20"/>
                        <a:pt x="49" y="20"/>
                        <a:pt x="48" y="20"/>
                      </a:cubicBezTo>
                      <a:cubicBezTo>
                        <a:pt x="48" y="20"/>
                        <a:pt x="48" y="20"/>
                        <a:pt x="48" y="21"/>
                      </a:cubicBezTo>
                      <a:cubicBezTo>
                        <a:pt x="48" y="21"/>
                        <a:pt x="47" y="21"/>
                        <a:pt x="47" y="21"/>
                      </a:cubicBezTo>
                      <a:cubicBezTo>
                        <a:pt x="47" y="22"/>
                        <a:pt x="47" y="22"/>
                        <a:pt x="47" y="22"/>
                      </a:cubicBezTo>
                      <a:cubicBezTo>
                        <a:pt x="47" y="23"/>
                        <a:pt x="47" y="23"/>
                        <a:pt x="47" y="23"/>
                      </a:cubicBezTo>
                      <a:cubicBezTo>
                        <a:pt x="47" y="23"/>
                        <a:pt x="47" y="23"/>
                        <a:pt x="48" y="23"/>
                      </a:cubicBezTo>
                      <a:cubicBezTo>
                        <a:pt x="48" y="23"/>
                        <a:pt x="48" y="23"/>
                        <a:pt x="49" y="23"/>
                      </a:cubicBezTo>
                      <a:cubicBezTo>
                        <a:pt x="49" y="23"/>
                        <a:pt x="49" y="23"/>
                        <a:pt x="50" y="23"/>
                      </a:cubicBezTo>
                      <a:cubicBezTo>
                        <a:pt x="50" y="24"/>
                        <a:pt x="50" y="24"/>
                        <a:pt x="50" y="24"/>
                      </a:cubicBezTo>
                      <a:cubicBezTo>
                        <a:pt x="50" y="24"/>
                        <a:pt x="50" y="24"/>
                        <a:pt x="51" y="25"/>
                      </a:cubicBezTo>
                      <a:cubicBezTo>
                        <a:pt x="51" y="25"/>
                        <a:pt x="51" y="25"/>
                        <a:pt x="51" y="25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0" y="26"/>
                        <a:pt x="50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cubicBezTo>
                        <a:pt x="49" y="27"/>
                        <a:pt x="49" y="27"/>
                        <a:pt x="49" y="27"/>
                      </a:cubicBezTo>
                      <a:cubicBezTo>
                        <a:pt x="49" y="26"/>
                        <a:pt x="49" y="26"/>
                        <a:pt x="48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8" y="27"/>
                        <a:pt x="48" y="28"/>
                        <a:pt x="48" y="28"/>
                      </a:cubicBezTo>
                      <a:cubicBezTo>
                        <a:pt x="49" y="28"/>
                        <a:pt x="49" y="29"/>
                        <a:pt x="49" y="29"/>
                      </a:cubicBezTo>
                      <a:cubicBezTo>
                        <a:pt x="49" y="29"/>
                        <a:pt x="49" y="30"/>
                        <a:pt x="50" y="30"/>
                      </a:cubicBezTo>
                      <a:cubicBezTo>
                        <a:pt x="50" y="30"/>
                        <a:pt x="51" y="30"/>
                        <a:pt x="51" y="31"/>
                      </a:cubicBezTo>
                      <a:cubicBezTo>
                        <a:pt x="52" y="31"/>
                        <a:pt x="52" y="31"/>
                        <a:pt x="53" y="31"/>
                      </a:cubicBezTo>
                      <a:cubicBezTo>
                        <a:pt x="53" y="32"/>
                        <a:pt x="54" y="32"/>
                        <a:pt x="54" y="32"/>
                      </a:cubicBezTo>
                      <a:cubicBezTo>
                        <a:pt x="55" y="32"/>
                        <a:pt x="55" y="33"/>
                        <a:pt x="56" y="33"/>
                      </a:cubicBezTo>
                      <a:cubicBezTo>
                        <a:pt x="56" y="34"/>
                        <a:pt x="56" y="34"/>
                        <a:pt x="57" y="34"/>
                      </a:cubicBezTo>
                      <a:cubicBezTo>
                        <a:pt x="57" y="35"/>
                        <a:pt x="57" y="36"/>
                        <a:pt x="58" y="36"/>
                      </a:cubicBezTo>
                      <a:cubicBezTo>
                        <a:pt x="58" y="37"/>
                        <a:pt x="58" y="37"/>
                        <a:pt x="58" y="38"/>
                      </a:cubicBezTo>
                      <a:cubicBezTo>
                        <a:pt x="57" y="37"/>
                        <a:pt x="56" y="36"/>
                        <a:pt x="55" y="35"/>
                      </a:cubicBezTo>
                      <a:cubicBezTo>
                        <a:pt x="55" y="35"/>
                        <a:pt x="55" y="34"/>
                        <a:pt x="54" y="33"/>
                      </a:cubicBezTo>
                      <a:cubicBezTo>
                        <a:pt x="54" y="33"/>
                        <a:pt x="53" y="33"/>
                        <a:pt x="53" y="33"/>
                      </a:cubicBezTo>
                      <a:cubicBezTo>
                        <a:pt x="52" y="33"/>
                        <a:pt x="52" y="32"/>
                        <a:pt x="51" y="32"/>
                      </a:cubicBezTo>
                      <a:cubicBezTo>
                        <a:pt x="51" y="32"/>
                        <a:pt x="50" y="33"/>
                        <a:pt x="50" y="33"/>
                      </a:cubicBezTo>
                      <a:cubicBezTo>
                        <a:pt x="49" y="33"/>
                        <a:pt x="49" y="33"/>
                        <a:pt x="48" y="33"/>
                      </a:cubicBezTo>
                      <a:cubicBezTo>
                        <a:pt x="48" y="33"/>
                        <a:pt x="48" y="33"/>
                        <a:pt x="47" y="33"/>
                      </a:cubicBezTo>
                      <a:cubicBezTo>
                        <a:pt x="47" y="32"/>
                        <a:pt x="46" y="32"/>
                        <a:pt x="46" y="31"/>
                      </a:cubicBezTo>
                      <a:cubicBezTo>
                        <a:pt x="46" y="31"/>
                        <a:pt x="46" y="31"/>
                        <a:pt x="45" y="31"/>
                      </a:cubicBezTo>
                      <a:cubicBezTo>
                        <a:pt x="45" y="31"/>
                        <a:pt x="45" y="31"/>
                        <a:pt x="44" y="31"/>
                      </a:cubicBezTo>
                      <a:cubicBezTo>
                        <a:pt x="44" y="31"/>
                        <a:pt x="44" y="31"/>
                        <a:pt x="43" y="31"/>
                      </a:cubicBezTo>
                      <a:cubicBezTo>
                        <a:pt x="43" y="32"/>
                        <a:pt x="43" y="32"/>
                        <a:pt x="43" y="33"/>
                      </a:cubicBezTo>
                      <a:cubicBezTo>
                        <a:pt x="43" y="33"/>
                        <a:pt x="43" y="34"/>
                        <a:pt x="42" y="34"/>
                      </a:cubicBezTo>
                      <a:cubicBezTo>
                        <a:pt x="42" y="34"/>
                        <a:pt x="42" y="35"/>
                        <a:pt x="42" y="35"/>
                      </a:cubicBezTo>
                      <a:cubicBezTo>
                        <a:pt x="42" y="36"/>
                        <a:pt x="42" y="36"/>
                        <a:pt x="42" y="36"/>
                      </a:cubicBezTo>
                      <a:cubicBezTo>
                        <a:pt x="42" y="36"/>
                        <a:pt x="42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2" y="36"/>
                        <a:pt x="42" y="36"/>
                        <a:pt x="42" y="36"/>
                      </a:cubicBezTo>
                      <a:cubicBezTo>
                        <a:pt x="42" y="37"/>
                        <a:pt x="42" y="37"/>
                        <a:pt x="42" y="38"/>
                      </a:cubicBezTo>
                      <a:cubicBezTo>
                        <a:pt x="42" y="38"/>
                        <a:pt x="42" y="39"/>
                        <a:pt x="42" y="39"/>
                      </a:cubicBezTo>
                      <a:cubicBezTo>
                        <a:pt x="42" y="39"/>
                        <a:pt x="42" y="39"/>
                        <a:pt x="42" y="40"/>
                      </a:cubicBezTo>
                      <a:cubicBezTo>
                        <a:pt x="41" y="40"/>
                        <a:pt x="41" y="40"/>
                        <a:pt x="41" y="40"/>
                      </a:cubicBezTo>
                      <a:cubicBezTo>
                        <a:pt x="41" y="39"/>
                        <a:pt x="41" y="39"/>
                        <a:pt x="40" y="39"/>
                      </a:cubicBezTo>
                      <a:cubicBezTo>
                        <a:pt x="40" y="39"/>
                        <a:pt x="40" y="38"/>
                        <a:pt x="40" y="38"/>
                      </a:cubicBezTo>
                      <a:cubicBezTo>
                        <a:pt x="39" y="38"/>
                        <a:pt x="39" y="38"/>
                        <a:pt x="39" y="38"/>
                      </a:cubicBezTo>
                      <a:cubicBezTo>
                        <a:pt x="39" y="38"/>
                        <a:pt x="38" y="38"/>
                        <a:pt x="38" y="38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40"/>
                        <a:pt x="38" y="40"/>
                        <a:pt x="38" y="40"/>
                      </a:cubicBezTo>
                      <a:cubicBezTo>
                        <a:pt x="38" y="41"/>
                        <a:pt x="38" y="41"/>
                        <a:pt x="39" y="41"/>
                      </a:cubicBezTo>
                      <a:cubicBezTo>
                        <a:pt x="39" y="42"/>
                        <a:pt x="39" y="42"/>
                        <a:pt x="39" y="42"/>
                      </a:cubicBezTo>
                      <a:cubicBezTo>
                        <a:pt x="39" y="43"/>
                        <a:pt x="39" y="43"/>
                        <a:pt x="38" y="43"/>
                      </a:cubicBezTo>
                      <a:cubicBezTo>
                        <a:pt x="38" y="44"/>
                        <a:pt x="38" y="44"/>
                        <a:pt x="38" y="44"/>
                      </a:cubicBezTo>
                      <a:cubicBezTo>
                        <a:pt x="37" y="44"/>
                        <a:pt x="37" y="44"/>
                        <a:pt x="37" y="44"/>
                      </a:cubicBezTo>
                      <a:cubicBezTo>
                        <a:pt x="37" y="44"/>
                        <a:pt x="37" y="43"/>
                        <a:pt x="36" y="43"/>
                      </a:cubicBezTo>
                      <a:cubicBezTo>
                        <a:pt x="36" y="43"/>
                        <a:pt x="36" y="42"/>
                        <a:pt x="36" y="42"/>
                      </a:cubicBezTo>
                      <a:cubicBezTo>
                        <a:pt x="36" y="42"/>
                        <a:pt x="35" y="41"/>
                        <a:pt x="35" y="41"/>
                      </a:cubicBezTo>
                      <a:cubicBezTo>
                        <a:pt x="35" y="41"/>
                        <a:pt x="35" y="41"/>
                        <a:pt x="35" y="41"/>
                      </a:cubicBezTo>
                      <a:cubicBezTo>
                        <a:pt x="35" y="40"/>
                        <a:pt x="35" y="40"/>
                        <a:pt x="36" y="40"/>
                      </a:cubicBezTo>
                      <a:cubicBezTo>
                        <a:pt x="36" y="40"/>
                        <a:pt x="36" y="40"/>
                        <a:pt x="36" y="40"/>
                      </a:cubicBezTo>
                      <a:cubicBezTo>
                        <a:pt x="36" y="39"/>
                        <a:pt x="36" y="39"/>
                        <a:pt x="36" y="39"/>
                      </a:cubicBezTo>
                      <a:cubicBezTo>
                        <a:pt x="36" y="39"/>
                        <a:pt x="36" y="39"/>
                        <a:pt x="36" y="38"/>
                      </a:cubicBezTo>
                      <a:cubicBezTo>
                        <a:pt x="36" y="38"/>
                        <a:pt x="36" y="38"/>
                        <a:pt x="35" y="38"/>
                      </a:cubicBezTo>
                      <a:cubicBezTo>
                        <a:pt x="35" y="38"/>
                        <a:pt x="35" y="37"/>
                        <a:pt x="35" y="37"/>
                      </a:cubicBezTo>
                      <a:cubicBezTo>
                        <a:pt x="35" y="37"/>
                        <a:pt x="35" y="37"/>
                        <a:pt x="35" y="36"/>
                      </a:cubicBezTo>
                      <a:cubicBezTo>
                        <a:pt x="35" y="36"/>
                        <a:pt x="35" y="36"/>
                        <a:pt x="35" y="36"/>
                      </a:cubicBezTo>
                      <a:cubicBezTo>
                        <a:pt x="34" y="35"/>
                        <a:pt x="34" y="35"/>
                        <a:pt x="34" y="35"/>
                      </a:cubicBezTo>
                      <a:cubicBezTo>
                        <a:pt x="33" y="35"/>
                        <a:pt x="33" y="35"/>
                        <a:pt x="32" y="35"/>
                      </a:cubicBezTo>
                      <a:cubicBezTo>
                        <a:pt x="32" y="35"/>
                        <a:pt x="32" y="35"/>
                        <a:pt x="32" y="35"/>
                      </a:cubicBezTo>
                      <a:cubicBezTo>
                        <a:pt x="31" y="35"/>
                        <a:pt x="31" y="35"/>
                        <a:pt x="31" y="36"/>
                      </a:cubicBezTo>
                      <a:cubicBezTo>
                        <a:pt x="31" y="36"/>
                        <a:pt x="31" y="36"/>
                        <a:pt x="31" y="36"/>
                      </a:cubicBezTo>
                      <a:cubicBezTo>
                        <a:pt x="30" y="36"/>
                        <a:pt x="30" y="35"/>
                        <a:pt x="30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30" y="35"/>
                        <a:pt x="29" y="35"/>
                        <a:pt x="29" y="35"/>
                      </a:cubicBezTo>
                      <a:cubicBezTo>
                        <a:pt x="29" y="35"/>
                        <a:pt x="29" y="35"/>
                        <a:pt x="28" y="36"/>
                      </a:cubicBezTo>
                      <a:cubicBezTo>
                        <a:pt x="28" y="36"/>
                        <a:pt x="28" y="36"/>
                        <a:pt x="28" y="36"/>
                      </a:cubicBezTo>
                      <a:cubicBezTo>
                        <a:pt x="28" y="36"/>
                        <a:pt x="28" y="36"/>
                        <a:pt x="27" y="36"/>
                      </a:cubicBezTo>
                      <a:cubicBezTo>
                        <a:pt x="27" y="36"/>
                        <a:pt x="27" y="36"/>
                        <a:pt x="27" y="36"/>
                      </a:cubicBezTo>
                      <a:cubicBezTo>
                        <a:pt x="26" y="36"/>
                        <a:pt x="26" y="36"/>
                        <a:pt x="26" y="36"/>
                      </a:cubicBezTo>
                      <a:cubicBezTo>
                        <a:pt x="26" y="36"/>
                        <a:pt x="26" y="36"/>
                        <a:pt x="25" y="36"/>
                      </a:cubicBezTo>
                      <a:cubicBezTo>
                        <a:pt x="25" y="36"/>
                        <a:pt x="25" y="36"/>
                        <a:pt x="25" y="36"/>
                      </a:cubicBezTo>
                      <a:cubicBezTo>
                        <a:pt x="24" y="36"/>
                        <a:pt x="24" y="36"/>
                        <a:pt x="24" y="36"/>
                      </a:cubicBezTo>
                      <a:cubicBezTo>
                        <a:pt x="23" y="36"/>
                        <a:pt x="23" y="36"/>
                        <a:pt x="23" y="36"/>
                      </a:cubicBezTo>
                      <a:cubicBezTo>
                        <a:pt x="23" y="36"/>
                        <a:pt x="23" y="37"/>
                        <a:pt x="23" y="37"/>
                      </a:cubicBezTo>
                      <a:cubicBezTo>
                        <a:pt x="22" y="37"/>
                        <a:pt x="22" y="37"/>
                        <a:pt x="22" y="37"/>
                      </a:cubicBezTo>
                      <a:cubicBezTo>
                        <a:pt x="22" y="37"/>
                        <a:pt x="22" y="37"/>
                        <a:pt x="22" y="37"/>
                      </a:cubicBezTo>
                      <a:cubicBezTo>
                        <a:pt x="22" y="38"/>
                        <a:pt x="22" y="38"/>
                        <a:pt x="21" y="38"/>
                      </a:cubicBezTo>
                      <a:cubicBezTo>
                        <a:pt x="21" y="38"/>
                        <a:pt x="21" y="38"/>
                        <a:pt x="21" y="38"/>
                      </a:cubicBezTo>
                      <a:cubicBezTo>
                        <a:pt x="21" y="38"/>
                        <a:pt x="21" y="39"/>
                        <a:pt x="21" y="39"/>
                      </a:cubicBezTo>
                      <a:cubicBezTo>
                        <a:pt x="21" y="39"/>
                        <a:pt x="21" y="39"/>
                        <a:pt x="21" y="39"/>
                      </a:cubicBezTo>
                      <a:cubicBezTo>
                        <a:pt x="21" y="39"/>
                        <a:pt x="21" y="39"/>
                        <a:pt x="22" y="40"/>
                      </a:cubicBezTo>
                      <a:cubicBezTo>
                        <a:pt x="21" y="40"/>
                        <a:pt x="21" y="40"/>
                        <a:pt x="21" y="40"/>
                      </a:cubicBezTo>
                      <a:cubicBezTo>
                        <a:pt x="21" y="40"/>
                        <a:pt x="21" y="40"/>
                        <a:pt x="21" y="40"/>
                      </a:cubicBezTo>
                      <a:cubicBezTo>
                        <a:pt x="21" y="41"/>
                        <a:pt x="20" y="41"/>
                        <a:pt x="20" y="41"/>
                      </a:cubicBezTo>
                      <a:cubicBezTo>
                        <a:pt x="20" y="41"/>
                        <a:pt x="20" y="41"/>
                        <a:pt x="20" y="41"/>
                      </a:cubicBezTo>
                      <a:cubicBezTo>
                        <a:pt x="20" y="41"/>
                        <a:pt x="19" y="41"/>
                        <a:pt x="19" y="42"/>
                      </a:cubicBezTo>
                      <a:cubicBezTo>
                        <a:pt x="19" y="42"/>
                        <a:pt x="19" y="42"/>
                        <a:pt x="19" y="42"/>
                      </a:cubicBezTo>
                      <a:cubicBezTo>
                        <a:pt x="19" y="43"/>
                        <a:pt x="19" y="43"/>
                        <a:pt x="19" y="43"/>
                      </a:cubicBezTo>
                      <a:cubicBezTo>
                        <a:pt x="20" y="43"/>
                        <a:pt x="20" y="43"/>
                        <a:pt x="20" y="44"/>
                      </a:cubicBezTo>
                      <a:cubicBezTo>
                        <a:pt x="20" y="44"/>
                        <a:pt x="20" y="44"/>
                        <a:pt x="21" y="44"/>
                      </a:cubicBezTo>
                      <a:cubicBezTo>
                        <a:pt x="21" y="44"/>
                        <a:pt x="21" y="44"/>
                        <a:pt x="22" y="44"/>
                      </a:cubicBezTo>
                      <a:cubicBezTo>
                        <a:pt x="22" y="44"/>
                        <a:pt x="22" y="44"/>
                        <a:pt x="23" y="44"/>
                      </a:cubicBezTo>
                      <a:cubicBezTo>
                        <a:pt x="23" y="44"/>
                        <a:pt x="23" y="44"/>
                        <a:pt x="24" y="44"/>
                      </a:cubicBezTo>
                      <a:cubicBezTo>
                        <a:pt x="24" y="45"/>
                        <a:pt x="24" y="45"/>
                        <a:pt x="25" y="45"/>
                      </a:cubicBez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6"/>
                        <a:pt x="26" y="46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4" y="47"/>
                        <a:pt x="24" y="47"/>
                        <a:pt x="24" y="46"/>
                      </a:cubicBezTo>
                      <a:cubicBezTo>
                        <a:pt x="24" y="46"/>
                        <a:pt x="24" y="46"/>
                        <a:pt x="24" y="46"/>
                      </a:cubicBezTo>
                      <a:cubicBezTo>
                        <a:pt x="23" y="46"/>
                        <a:pt x="23" y="46"/>
                        <a:pt x="23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7"/>
                        <a:pt x="23" y="47"/>
                        <a:pt x="23" y="47"/>
                      </a:cubicBezTo>
                      <a:cubicBezTo>
                        <a:pt x="23" y="47"/>
                        <a:pt x="23" y="48"/>
                        <a:pt x="23" y="48"/>
                      </a:cubicBezTo>
                      <a:cubicBezTo>
                        <a:pt x="22" y="49"/>
                        <a:pt x="22" y="49"/>
                        <a:pt x="22" y="49"/>
                      </a:cubicBezTo>
                      <a:cubicBezTo>
                        <a:pt x="22" y="50"/>
                        <a:pt x="22" y="50"/>
                        <a:pt x="22" y="51"/>
                      </a:cubicBezTo>
                      <a:cubicBezTo>
                        <a:pt x="22" y="51"/>
                        <a:pt x="22" y="51"/>
                        <a:pt x="22" y="52"/>
                      </a:cubicBezTo>
                      <a:cubicBezTo>
                        <a:pt x="22" y="52"/>
                        <a:pt x="22" y="53"/>
                        <a:pt x="22" y="53"/>
                      </a:cubicBezTo>
                      <a:cubicBezTo>
                        <a:pt x="22" y="53"/>
                        <a:pt x="22" y="53"/>
                        <a:pt x="22" y="54"/>
                      </a:cubicBezTo>
                      <a:cubicBezTo>
                        <a:pt x="22" y="54"/>
                        <a:pt x="22" y="54"/>
                        <a:pt x="22" y="55"/>
                      </a:cubicBezTo>
                      <a:cubicBezTo>
                        <a:pt x="22" y="55"/>
                        <a:pt x="22" y="55"/>
                        <a:pt x="21" y="55"/>
                      </a:cubicBezTo>
                      <a:cubicBezTo>
                        <a:pt x="21" y="56"/>
                        <a:pt x="21" y="56"/>
                        <a:pt x="21" y="56"/>
                      </a:cubicBezTo>
                      <a:cubicBezTo>
                        <a:pt x="20" y="56"/>
                        <a:pt x="20" y="57"/>
                        <a:pt x="20" y="57"/>
                      </a:cubicBezTo>
                      <a:cubicBezTo>
                        <a:pt x="20" y="58"/>
                        <a:pt x="20" y="58"/>
                        <a:pt x="20" y="59"/>
                      </a:cubicBezTo>
                      <a:cubicBezTo>
                        <a:pt x="20" y="59"/>
                        <a:pt x="20" y="60"/>
                        <a:pt x="20" y="60"/>
                      </a:cubicBezTo>
                      <a:cubicBezTo>
                        <a:pt x="19" y="61"/>
                        <a:pt x="19" y="61"/>
                        <a:pt x="19" y="61"/>
                      </a:cubicBezTo>
                      <a:cubicBezTo>
                        <a:pt x="19" y="62"/>
                        <a:pt x="19" y="62"/>
                        <a:pt x="19" y="63"/>
                      </a:cubicBezTo>
                      <a:cubicBezTo>
                        <a:pt x="19" y="63"/>
                        <a:pt x="19" y="63"/>
                        <a:pt x="19" y="63"/>
                      </a:cubicBezTo>
                      <a:cubicBezTo>
                        <a:pt x="18" y="63"/>
                        <a:pt x="18" y="63"/>
                        <a:pt x="18" y="63"/>
                      </a:cubicBezTo>
                      <a:cubicBezTo>
                        <a:pt x="18" y="63"/>
                        <a:pt x="18" y="63"/>
                        <a:pt x="17" y="63"/>
                      </a:cubicBezTo>
                      <a:cubicBezTo>
                        <a:pt x="17" y="63"/>
                        <a:pt x="17" y="63"/>
                        <a:pt x="17" y="63"/>
                      </a:cubicBezTo>
                      <a:cubicBezTo>
                        <a:pt x="16" y="63"/>
                        <a:pt x="16" y="63"/>
                        <a:pt x="16" y="63"/>
                      </a:cubicBezTo>
                      <a:cubicBezTo>
                        <a:pt x="15" y="63"/>
                        <a:pt x="15" y="63"/>
                        <a:pt x="15" y="63"/>
                      </a:cubicBezTo>
                      <a:cubicBezTo>
                        <a:pt x="15" y="63"/>
                        <a:pt x="15" y="63"/>
                        <a:pt x="14" y="63"/>
                      </a:cubicBezTo>
                      <a:cubicBezTo>
                        <a:pt x="14" y="63"/>
                        <a:pt x="14" y="63"/>
                        <a:pt x="14" y="63"/>
                      </a:cubicBezTo>
                      <a:cubicBezTo>
                        <a:pt x="14" y="63"/>
                        <a:pt x="14" y="64"/>
                        <a:pt x="14" y="64"/>
                      </a:cubicBezTo>
                      <a:cubicBezTo>
                        <a:pt x="15" y="64"/>
                        <a:pt x="15" y="64"/>
                        <a:pt x="15" y="64"/>
                      </a:cubicBezTo>
                      <a:cubicBezTo>
                        <a:pt x="15" y="64"/>
                        <a:pt x="15" y="64"/>
                        <a:pt x="15" y="65"/>
                      </a:cubicBez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5"/>
                        <a:pt x="15" y="65"/>
                        <a:pt x="14" y="66"/>
                      </a:cubicBezTo>
                      <a:cubicBezTo>
                        <a:pt x="14" y="66"/>
                        <a:pt x="14" y="66"/>
                        <a:pt x="14" y="66"/>
                      </a:cubicBezTo>
                      <a:cubicBezTo>
                        <a:pt x="14" y="66"/>
                        <a:pt x="14" y="67"/>
                        <a:pt x="14" y="67"/>
                      </a:cubicBezTo>
                      <a:cubicBezTo>
                        <a:pt x="14" y="67"/>
                        <a:pt x="14" y="67"/>
                        <a:pt x="14" y="68"/>
                      </a:cubicBezTo>
                      <a:cubicBezTo>
                        <a:pt x="15" y="68"/>
                        <a:pt x="15" y="68"/>
                        <a:pt x="15" y="68"/>
                      </a:cubicBezTo>
                      <a:cubicBezTo>
                        <a:pt x="15" y="68"/>
                        <a:pt x="15" y="68"/>
                        <a:pt x="16" y="68"/>
                      </a:cubicBezTo>
                      <a:cubicBezTo>
                        <a:pt x="16" y="68"/>
                        <a:pt x="16" y="68"/>
                        <a:pt x="16" y="68"/>
                      </a:cubicBezTo>
                      <a:cubicBezTo>
                        <a:pt x="16" y="68"/>
                        <a:pt x="17" y="68"/>
                        <a:pt x="17" y="68"/>
                      </a:cubicBezTo>
                      <a:cubicBezTo>
                        <a:pt x="17" y="67"/>
                        <a:pt x="17" y="67"/>
                        <a:pt x="17" y="67"/>
                      </a:cubicBezTo>
                      <a:cubicBezTo>
                        <a:pt x="17" y="68"/>
                        <a:pt x="18" y="68"/>
                        <a:pt x="18" y="68"/>
                      </a:cubicBezTo>
                      <a:cubicBezTo>
                        <a:pt x="18" y="68"/>
                        <a:pt x="18" y="68"/>
                        <a:pt x="18" y="69"/>
                      </a:cubicBezTo>
                      <a:cubicBezTo>
                        <a:pt x="18" y="69"/>
                        <a:pt x="18" y="69"/>
                        <a:pt x="18" y="69"/>
                      </a:cubicBezTo>
                      <a:cubicBezTo>
                        <a:pt x="18" y="70"/>
                        <a:pt x="18" y="70"/>
                        <a:pt x="18" y="70"/>
                      </a:cubicBezTo>
                      <a:cubicBezTo>
                        <a:pt x="18" y="70"/>
                        <a:pt x="18" y="70"/>
                        <a:pt x="19" y="71"/>
                      </a:cubicBezTo>
                      <a:cubicBezTo>
                        <a:pt x="19" y="71"/>
                        <a:pt x="19" y="71"/>
                        <a:pt x="19" y="71"/>
                      </a:cubicBezTo>
                      <a:cubicBezTo>
                        <a:pt x="19" y="72"/>
                        <a:pt x="19" y="72"/>
                        <a:pt x="19" y="72"/>
                      </a:cubicBezTo>
                      <a:cubicBezTo>
                        <a:pt x="19" y="73"/>
                        <a:pt x="19" y="73"/>
                        <a:pt x="19" y="73"/>
                      </a:cubicBezTo>
                      <a:cubicBezTo>
                        <a:pt x="19" y="74"/>
                        <a:pt x="19" y="74"/>
                        <a:pt x="19" y="74"/>
                      </a:cubicBezTo>
                      <a:cubicBezTo>
                        <a:pt x="19" y="74"/>
                        <a:pt x="18" y="74"/>
                        <a:pt x="18" y="75"/>
                      </a:cubicBezTo>
                      <a:cubicBezTo>
                        <a:pt x="18" y="75"/>
                        <a:pt x="18" y="75"/>
                        <a:pt x="17" y="75"/>
                      </a:cubicBezTo>
                      <a:cubicBezTo>
                        <a:pt x="17" y="75"/>
                        <a:pt x="17" y="75"/>
                        <a:pt x="16" y="75"/>
                      </a:cubicBezTo>
                      <a:cubicBezTo>
                        <a:pt x="16" y="75"/>
                        <a:pt x="16" y="76"/>
                        <a:pt x="15" y="76"/>
                      </a:cubicBezTo>
                      <a:cubicBezTo>
                        <a:pt x="15" y="77"/>
                        <a:pt x="15" y="77"/>
                        <a:pt x="15" y="77"/>
                      </a:cubicBezTo>
                      <a:cubicBezTo>
                        <a:pt x="14" y="77"/>
                        <a:pt x="14" y="77"/>
                        <a:pt x="14" y="78"/>
                      </a:cubicBezTo>
                      <a:cubicBezTo>
                        <a:pt x="14" y="78"/>
                        <a:pt x="14" y="78"/>
                        <a:pt x="13" y="78"/>
                      </a:cubicBezTo>
                      <a:cubicBezTo>
                        <a:pt x="13" y="78"/>
                        <a:pt x="13" y="78"/>
                        <a:pt x="13" y="78"/>
                      </a:cubicBezTo>
                      <a:cubicBezTo>
                        <a:pt x="13" y="79"/>
                        <a:pt x="13" y="79"/>
                        <a:pt x="13" y="79"/>
                      </a:cubicBezTo>
                      <a:cubicBezTo>
                        <a:pt x="13" y="79"/>
                        <a:pt x="14" y="79"/>
                        <a:pt x="14" y="79"/>
                      </a:cubicBezTo>
                      <a:cubicBezTo>
                        <a:pt x="14" y="80"/>
                        <a:pt x="14" y="80"/>
                        <a:pt x="14" y="81"/>
                      </a:cubicBezTo>
                      <a:cubicBezTo>
                        <a:pt x="14" y="81"/>
                        <a:pt x="14" y="81"/>
                        <a:pt x="14" y="82"/>
                      </a:cubicBezTo>
                      <a:cubicBezTo>
                        <a:pt x="13" y="82"/>
                        <a:pt x="13" y="82"/>
                        <a:pt x="13" y="83"/>
                      </a:cubicBezTo>
                      <a:cubicBezTo>
                        <a:pt x="13" y="83"/>
                        <a:pt x="12" y="83"/>
                        <a:pt x="12" y="83"/>
                      </a:cubicBezTo>
                      <a:cubicBezTo>
                        <a:pt x="12" y="83"/>
                        <a:pt x="12" y="83"/>
                        <a:pt x="12" y="83"/>
                      </a:cubicBezTo>
                      <a:cubicBezTo>
                        <a:pt x="11" y="82"/>
                        <a:pt x="11" y="82"/>
                        <a:pt x="11" y="82"/>
                      </a:cubicBezTo>
                      <a:cubicBezTo>
                        <a:pt x="11" y="82"/>
                        <a:pt x="10" y="83"/>
                        <a:pt x="10" y="83"/>
                      </a:cubicBezTo>
                      <a:cubicBezTo>
                        <a:pt x="10" y="83"/>
                        <a:pt x="10" y="83"/>
                        <a:pt x="10" y="83"/>
                      </a:cubicBezTo>
                      <a:cubicBezTo>
                        <a:pt x="9" y="83"/>
                        <a:pt x="9" y="83"/>
                        <a:pt x="9" y="84"/>
                      </a:cubicBezTo>
                      <a:cubicBezTo>
                        <a:pt x="9" y="83"/>
                        <a:pt x="9" y="83"/>
                        <a:pt x="8" y="83"/>
                      </a:cubicBezTo>
                      <a:cubicBezTo>
                        <a:pt x="8" y="84"/>
                        <a:pt x="8" y="84"/>
                        <a:pt x="8" y="84"/>
                      </a:cubicBezTo>
                      <a:cubicBezTo>
                        <a:pt x="8" y="84"/>
                        <a:pt x="8" y="84"/>
                        <a:pt x="7" y="84"/>
                      </a:cubicBezTo>
                      <a:cubicBezTo>
                        <a:pt x="7" y="85"/>
                        <a:pt x="7" y="85"/>
                        <a:pt x="7" y="85"/>
                      </a:cubicBezTo>
                      <a:cubicBezTo>
                        <a:pt x="7" y="85"/>
                        <a:pt x="6" y="84"/>
                        <a:pt x="6" y="84"/>
                      </a:cubicBezTo>
                      <a:cubicBezTo>
                        <a:pt x="6" y="84"/>
                        <a:pt x="6" y="84"/>
                        <a:pt x="6" y="84"/>
                      </a:cubicBezTo>
                      <a:cubicBezTo>
                        <a:pt x="5" y="83"/>
                        <a:pt x="5" y="83"/>
                        <a:pt x="5" y="83"/>
                      </a:cubicBezTo>
                      <a:cubicBezTo>
                        <a:pt x="5" y="83"/>
                        <a:pt x="4" y="83"/>
                        <a:pt x="4" y="83"/>
                      </a:cubicBezTo>
                      <a:cubicBezTo>
                        <a:pt x="4" y="83"/>
                        <a:pt x="4" y="83"/>
                        <a:pt x="4" y="83"/>
                      </a:cubicBezTo>
                      <a:cubicBezTo>
                        <a:pt x="3" y="84"/>
                        <a:pt x="3" y="84"/>
                        <a:pt x="3" y="84"/>
                      </a:cubicBezTo>
                      <a:cubicBezTo>
                        <a:pt x="2" y="84"/>
                        <a:pt x="2" y="84"/>
                        <a:pt x="1" y="84"/>
                      </a:cubicBezTo>
                      <a:cubicBezTo>
                        <a:pt x="1" y="84"/>
                        <a:pt x="1" y="84"/>
                        <a:pt x="1" y="84"/>
                      </a:cubicBezTo>
                      <a:cubicBezTo>
                        <a:pt x="1" y="85"/>
                        <a:pt x="1" y="85"/>
                        <a:pt x="1" y="85"/>
                      </a:cubicBezTo>
                      <a:cubicBezTo>
                        <a:pt x="1" y="86"/>
                        <a:pt x="1" y="86"/>
                        <a:pt x="1" y="86"/>
                      </a:cubicBezTo>
                      <a:cubicBezTo>
                        <a:pt x="1" y="87"/>
                        <a:pt x="2" y="87"/>
                        <a:pt x="2" y="87"/>
                      </a:cubicBezTo>
                      <a:cubicBezTo>
                        <a:pt x="2" y="87"/>
                        <a:pt x="2" y="88"/>
                        <a:pt x="2" y="88"/>
                      </a:cubicBezTo>
                      <a:cubicBezTo>
                        <a:pt x="2" y="88"/>
                        <a:pt x="3" y="88"/>
                        <a:pt x="3" y="89"/>
                      </a:cubicBezTo>
                      <a:cubicBezTo>
                        <a:pt x="3" y="89"/>
                        <a:pt x="2" y="89"/>
                        <a:pt x="2" y="90"/>
                      </a:cubicBezTo>
                      <a:cubicBezTo>
                        <a:pt x="2" y="90"/>
                        <a:pt x="2" y="90"/>
                        <a:pt x="2" y="91"/>
                      </a:cubicBezTo>
                      <a:cubicBezTo>
                        <a:pt x="2" y="91"/>
                        <a:pt x="2" y="91"/>
                        <a:pt x="3" y="92"/>
                      </a:cubicBezTo>
                      <a:cubicBezTo>
                        <a:pt x="3" y="92"/>
                        <a:pt x="3" y="92"/>
                        <a:pt x="4" y="92"/>
                      </a:cubicBezTo>
                      <a:cubicBezTo>
                        <a:pt x="4" y="92"/>
                        <a:pt x="4" y="93"/>
                        <a:pt x="4" y="93"/>
                      </a:cubicBezTo>
                      <a:cubicBezTo>
                        <a:pt x="4" y="93"/>
                        <a:pt x="4" y="93"/>
                        <a:pt x="4" y="93"/>
                      </a:cubicBezTo>
                      <a:cubicBezTo>
                        <a:pt x="4" y="94"/>
                        <a:pt x="4" y="94"/>
                        <a:pt x="4" y="94"/>
                      </a:cubicBezTo>
                      <a:cubicBezTo>
                        <a:pt x="4" y="95"/>
                        <a:pt x="4" y="95"/>
                        <a:pt x="4" y="95"/>
                      </a:cubicBezTo>
                      <a:cubicBezTo>
                        <a:pt x="4" y="96"/>
                        <a:pt x="4" y="96"/>
                        <a:pt x="4" y="96"/>
                      </a:cubicBezTo>
                      <a:cubicBezTo>
                        <a:pt x="4" y="97"/>
                        <a:pt x="4" y="97"/>
                        <a:pt x="4" y="97"/>
                      </a:cubicBezTo>
                      <a:cubicBezTo>
                        <a:pt x="3" y="97"/>
                        <a:pt x="3" y="97"/>
                        <a:pt x="3" y="98"/>
                      </a:cubicBezTo>
                      <a:cubicBezTo>
                        <a:pt x="3" y="98"/>
                        <a:pt x="2" y="98"/>
                        <a:pt x="2" y="99"/>
                      </a:cubicBezTo>
                      <a:cubicBezTo>
                        <a:pt x="2" y="99"/>
                        <a:pt x="2" y="99"/>
                        <a:pt x="2" y="99"/>
                      </a:cubicBezTo>
                      <a:cubicBezTo>
                        <a:pt x="1" y="100"/>
                        <a:pt x="1" y="100"/>
                        <a:pt x="1" y="100"/>
                      </a:cubicBezTo>
                      <a:cubicBezTo>
                        <a:pt x="2" y="100"/>
                        <a:pt x="2" y="100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3" y="101"/>
                        <a:pt x="3" y="101"/>
                      </a:cubicBezTo>
                      <a:cubicBezTo>
                        <a:pt x="3" y="101"/>
                        <a:pt x="3" y="102"/>
                        <a:pt x="3" y="102"/>
                      </a:cubicBezTo>
                      <a:cubicBezTo>
                        <a:pt x="3" y="102"/>
                        <a:pt x="3" y="102"/>
                        <a:pt x="3" y="103"/>
                      </a:cubicBezTo>
                      <a:cubicBezTo>
                        <a:pt x="2" y="103"/>
                        <a:pt x="2" y="103"/>
                        <a:pt x="2" y="104"/>
                      </a:cubicBezTo>
                      <a:cubicBezTo>
                        <a:pt x="2" y="104"/>
                        <a:pt x="1" y="104"/>
                        <a:pt x="1" y="104"/>
                      </a:cubicBezTo>
                      <a:cubicBezTo>
                        <a:pt x="1" y="104"/>
                        <a:pt x="0" y="104"/>
                        <a:pt x="0" y="104"/>
                      </a:cubicBezTo>
                      <a:cubicBezTo>
                        <a:pt x="0" y="104"/>
                        <a:pt x="0" y="104"/>
                        <a:pt x="0" y="104"/>
                      </a:cubicBezTo>
                      <a:cubicBezTo>
                        <a:pt x="0" y="105"/>
                        <a:pt x="0" y="105"/>
                        <a:pt x="0" y="105"/>
                      </a:cubicBezTo>
                      <a:cubicBezTo>
                        <a:pt x="0" y="105"/>
                        <a:pt x="0" y="106"/>
                        <a:pt x="0" y="106"/>
                      </a:cubicBezTo>
                      <a:cubicBezTo>
                        <a:pt x="0" y="106"/>
                        <a:pt x="1" y="106"/>
                        <a:pt x="1" y="107"/>
                      </a:cubicBezTo>
                      <a:cubicBezTo>
                        <a:pt x="1" y="107"/>
                        <a:pt x="1" y="107"/>
                        <a:pt x="1" y="108"/>
                      </a:cubicBezTo>
                      <a:cubicBezTo>
                        <a:pt x="1" y="108"/>
                        <a:pt x="1" y="108"/>
                        <a:pt x="1" y="109"/>
                      </a:cubicBezTo>
                      <a:cubicBezTo>
                        <a:pt x="1" y="109"/>
                        <a:pt x="1" y="109"/>
                        <a:pt x="0" y="109"/>
                      </a:cubicBezTo>
                      <a:cubicBezTo>
                        <a:pt x="0" y="110"/>
                        <a:pt x="0" y="110"/>
                        <a:pt x="0" y="110"/>
                      </a:cubicBezTo>
                      <a:cubicBezTo>
                        <a:pt x="0" y="110"/>
                        <a:pt x="0" y="111"/>
                        <a:pt x="0" y="111"/>
                      </a:cubicBezTo>
                      <a:cubicBezTo>
                        <a:pt x="0" y="111"/>
                        <a:pt x="0" y="111"/>
                        <a:pt x="1" y="112"/>
                      </a:cubicBezTo>
                      <a:cubicBezTo>
                        <a:pt x="1" y="112"/>
                        <a:pt x="1" y="112"/>
                        <a:pt x="1" y="112"/>
                      </a:cubicBezTo>
                      <a:cubicBezTo>
                        <a:pt x="1" y="113"/>
                        <a:pt x="1" y="113"/>
                        <a:pt x="2" y="114"/>
                      </a:cubicBezTo>
                      <a:cubicBezTo>
                        <a:pt x="2" y="114"/>
                        <a:pt x="2" y="115"/>
                        <a:pt x="2" y="115"/>
                      </a:cubicBezTo>
                      <a:cubicBezTo>
                        <a:pt x="2" y="115"/>
                        <a:pt x="2" y="115"/>
                        <a:pt x="2" y="115"/>
                      </a:cubicBezTo>
                      <a:cubicBezTo>
                        <a:pt x="3" y="115"/>
                        <a:pt x="3" y="115"/>
                        <a:pt x="3" y="115"/>
                      </a:cubicBezTo>
                      <a:cubicBezTo>
                        <a:pt x="3" y="116"/>
                        <a:pt x="3" y="116"/>
                        <a:pt x="3" y="116"/>
                      </a:cubicBezTo>
                      <a:cubicBezTo>
                        <a:pt x="3" y="116"/>
                        <a:pt x="3" y="116"/>
                        <a:pt x="3" y="117"/>
                      </a:cubicBezTo>
                      <a:cubicBezTo>
                        <a:pt x="3" y="117"/>
                        <a:pt x="2" y="117"/>
                        <a:pt x="2" y="117"/>
                      </a:cubicBezTo>
                      <a:cubicBezTo>
                        <a:pt x="2" y="117"/>
                        <a:pt x="2" y="118"/>
                        <a:pt x="2" y="118"/>
                      </a:cubicBezTo>
                      <a:cubicBezTo>
                        <a:pt x="2" y="118"/>
                        <a:pt x="2" y="118"/>
                        <a:pt x="2" y="119"/>
                      </a:cubicBezTo>
                      <a:cubicBezTo>
                        <a:pt x="2" y="119"/>
                        <a:pt x="3" y="119"/>
                        <a:pt x="3" y="119"/>
                      </a:cubicBezTo>
                      <a:cubicBezTo>
                        <a:pt x="3" y="119"/>
                        <a:pt x="3" y="119"/>
                        <a:pt x="4" y="119"/>
                      </a:cubicBezTo>
                      <a:cubicBezTo>
                        <a:pt x="4" y="119"/>
                        <a:pt x="4" y="119"/>
                        <a:pt x="4" y="120"/>
                      </a:cubicBezTo>
                      <a:cubicBezTo>
                        <a:pt x="4" y="120"/>
                        <a:pt x="4" y="120"/>
                        <a:pt x="5" y="121"/>
                      </a:cubicBezTo>
                      <a:cubicBezTo>
                        <a:pt x="5" y="121"/>
                        <a:pt x="5" y="121"/>
                        <a:pt x="5" y="122"/>
                      </a:cubicBezTo>
                      <a:cubicBezTo>
                        <a:pt x="5" y="122"/>
                        <a:pt x="5" y="122"/>
                        <a:pt x="4" y="122"/>
                      </a:cubicBezTo>
                      <a:cubicBezTo>
                        <a:pt x="5" y="123"/>
                        <a:pt x="5" y="123"/>
                        <a:pt x="5" y="124"/>
                      </a:cubicBezTo>
                      <a:cubicBezTo>
                        <a:pt x="5" y="124"/>
                        <a:pt x="5" y="124"/>
                        <a:pt x="5" y="124"/>
                      </a:cubicBezTo>
                      <a:cubicBezTo>
                        <a:pt x="4" y="124"/>
                        <a:pt x="4" y="124"/>
                        <a:pt x="4" y="124"/>
                      </a:cubicBezTo>
                      <a:cubicBezTo>
                        <a:pt x="4" y="125"/>
                        <a:pt x="3" y="125"/>
                        <a:pt x="3" y="125"/>
                      </a:cubicBezTo>
                      <a:cubicBezTo>
                        <a:pt x="3" y="125"/>
                        <a:pt x="3" y="125"/>
                        <a:pt x="2" y="126"/>
                      </a:cubicBezTo>
                      <a:cubicBezTo>
                        <a:pt x="2" y="126"/>
                        <a:pt x="2" y="126"/>
                        <a:pt x="2" y="127"/>
                      </a:cubicBezTo>
                      <a:cubicBezTo>
                        <a:pt x="1" y="127"/>
                        <a:pt x="1" y="127"/>
                        <a:pt x="1" y="128"/>
                      </a:cubicBezTo>
                      <a:cubicBezTo>
                        <a:pt x="1" y="128"/>
                        <a:pt x="1" y="128"/>
                        <a:pt x="0" y="129"/>
                      </a:cubicBezTo>
                      <a:cubicBezTo>
                        <a:pt x="0" y="129"/>
                        <a:pt x="0" y="129"/>
                        <a:pt x="0" y="129"/>
                      </a:cubicBezTo>
                      <a:cubicBezTo>
                        <a:pt x="0" y="130"/>
                        <a:pt x="0" y="130"/>
                        <a:pt x="1" y="130"/>
                      </a:cubicBezTo>
                      <a:cubicBezTo>
                        <a:pt x="0" y="130"/>
                        <a:pt x="0" y="130"/>
                        <a:pt x="0" y="131"/>
                      </a:cubicBezTo>
                      <a:cubicBezTo>
                        <a:pt x="0" y="131"/>
                        <a:pt x="0" y="131"/>
                        <a:pt x="0" y="132"/>
                      </a:cubicBezTo>
                      <a:cubicBezTo>
                        <a:pt x="0" y="132"/>
                        <a:pt x="0" y="132"/>
                        <a:pt x="0" y="133"/>
                      </a:cubicBezTo>
                      <a:cubicBezTo>
                        <a:pt x="0" y="133"/>
                        <a:pt x="1" y="133"/>
                        <a:pt x="1" y="134"/>
                      </a:cubicBezTo>
                      <a:cubicBezTo>
                        <a:pt x="1" y="134"/>
                        <a:pt x="1" y="134"/>
                        <a:pt x="1" y="134"/>
                      </a:cubicBezTo>
                      <a:cubicBezTo>
                        <a:pt x="2" y="134"/>
                        <a:pt x="2" y="135"/>
                        <a:pt x="2" y="135"/>
                      </a:cubicBezTo>
                      <a:cubicBezTo>
                        <a:pt x="2" y="135"/>
                        <a:pt x="2" y="135"/>
                        <a:pt x="2" y="136"/>
                      </a:cubicBezTo>
                      <a:cubicBezTo>
                        <a:pt x="3" y="136"/>
                        <a:pt x="3" y="136"/>
                        <a:pt x="3" y="137"/>
                      </a:cubicBezTo>
                      <a:cubicBezTo>
                        <a:pt x="4" y="137"/>
                        <a:pt x="4" y="137"/>
                        <a:pt x="4" y="137"/>
                      </a:cubicBezTo>
                      <a:cubicBezTo>
                        <a:pt x="5" y="137"/>
                        <a:pt x="5" y="137"/>
                        <a:pt x="5" y="138"/>
                      </a:cubicBezTo>
                      <a:cubicBezTo>
                        <a:pt x="5" y="138"/>
                        <a:pt x="5" y="138"/>
                        <a:pt x="5" y="138"/>
                      </a:cubicBezTo>
                      <a:cubicBezTo>
                        <a:pt x="5" y="139"/>
                        <a:pt x="5" y="139"/>
                        <a:pt x="5" y="140"/>
                      </a:cubicBezTo>
                      <a:cubicBezTo>
                        <a:pt x="5" y="140"/>
                        <a:pt x="5" y="140"/>
                        <a:pt x="5" y="141"/>
                      </a:cubicBezTo>
                      <a:cubicBezTo>
                        <a:pt x="5" y="141"/>
                        <a:pt x="5" y="141"/>
                        <a:pt x="4" y="142"/>
                      </a:cubicBezTo>
                      <a:cubicBezTo>
                        <a:pt x="4" y="142"/>
                        <a:pt x="4" y="142"/>
                        <a:pt x="4" y="142"/>
                      </a:cubicBezTo>
                      <a:cubicBezTo>
                        <a:pt x="4" y="143"/>
                        <a:pt x="4" y="143"/>
                        <a:pt x="4" y="143"/>
                      </a:cubicBezTo>
                      <a:cubicBezTo>
                        <a:pt x="4" y="143"/>
                        <a:pt x="4" y="144"/>
                        <a:pt x="4" y="144"/>
                      </a:cubicBezTo>
                      <a:cubicBezTo>
                        <a:pt x="4" y="144"/>
                        <a:pt x="4" y="144"/>
                        <a:pt x="4" y="144"/>
                      </a:cubicBezTo>
                      <a:cubicBezTo>
                        <a:pt x="4" y="144"/>
                        <a:pt x="4" y="144"/>
                        <a:pt x="3" y="144"/>
                      </a:cubicBezTo>
                      <a:cubicBezTo>
                        <a:pt x="3" y="145"/>
                        <a:pt x="3" y="145"/>
                        <a:pt x="3" y="145"/>
                      </a:cubicBezTo>
                      <a:cubicBezTo>
                        <a:pt x="3" y="145"/>
                        <a:pt x="3" y="145"/>
                        <a:pt x="3" y="146"/>
                      </a:cubicBezTo>
                      <a:cubicBezTo>
                        <a:pt x="3" y="146"/>
                        <a:pt x="3" y="146"/>
                        <a:pt x="3" y="146"/>
                      </a:cubicBezTo>
                      <a:cubicBezTo>
                        <a:pt x="3" y="147"/>
                        <a:pt x="3" y="147"/>
                        <a:pt x="4" y="147"/>
                      </a:cubicBezTo>
                      <a:cubicBezTo>
                        <a:pt x="4" y="147"/>
                        <a:pt x="4" y="147"/>
                        <a:pt x="5" y="147"/>
                      </a:cubicBezTo>
                      <a:cubicBezTo>
                        <a:pt x="5" y="147"/>
                        <a:pt x="5" y="147"/>
                        <a:pt x="5" y="147"/>
                      </a:cubicBezTo>
                      <a:cubicBezTo>
                        <a:pt x="6" y="147"/>
                        <a:pt x="6" y="147"/>
                        <a:pt x="6" y="148"/>
                      </a:cubicBezTo>
                      <a:cubicBezTo>
                        <a:pt x="6" y="148"/>
                        <a:pt x="6" y="148"/>
                        <a:pt x="6" y="148"/>
                      </a:cubicBezTo>
                      <a:cubicBezTo>
                        <a:pt x="6" y="148"/>
                        <a:pt x="6" y="149"/>
                        <a:pt x="6" y="149"/>
                      </a:cubicBezTo>
                      <a:cubicBezTo>
                        <a:pt x="6" y="149"/>
                        <a:pt x="6" y="150"/>
                        <a:pt x="6" y="150"/>
                      </a:cubicBezTo>
                      <a:cubicBezTo>
                        <a:pt x="6" y="150"/>
                        <a:pt x="6" y="151"/>
                        <a:pt x="7" y="151"/>
                      </a:cubicBezTo>
                      <a:cubicBezTo>
                        <a:pt x="7" y="152"/>
                        <a:pt x="7" y="152"/>
                        <a:pt x="8" y="152"/>
                      </a:cubicBezTo>
                      <a:cubicBezTo>
                        <a:pt x="8" y="153"/>
                        <a:pt x="8" y="153"/>
                        <a:pt x="8" y="153"/>
                      </a:cubicBezTo>
                      <a:cubicBezTo>
                        <a:pt x="8" y="154"/>
                        <a:pt x="8" y="154"/>
                        <a:pt x="9" y="155"/>
                      </a:cubicBezTo>
                      <a:cubicBezTo>
                        <a:pt x="9" y="155"/>
                        <a:pt x="9" y="155"/>
                        <a:pt x="9" y="155"/>
                      </a:cubicBezTo>
                      <a:cubicBezTo>
                        <a:pt x="10" y="155"/>
                        <a:pt x="10" y="155"/>
                        <a:pt x="10" y="155"/>
                      </a:cubicBezTo>
                      <a:cubicBezTo>
                        <a:pt x="10" y="155"/>
                        <a:pt x="10" y="155"/>
                        <a:pt x="11" y="155"/>
                      </a:cubicBezTo>
                      <a:cubicBezTo>
                        <a:pt x="11" y="154"/>
                        <a:pt x="11" y="154"/>
                        <a:pt x="11" y="154"/>
                      </a:cubicBezTo>
                      <a:cubicBezTo>
                        <a:pt x="11" y="154"/>
                        <a:pt x="11" y="154"/>
                        <a:pt x="12" y="154"/>
                      </a:cubicBezTo>
                      <a:cubicBezTo>
                        <a:pt x="12" y="154"/>
                        <a:pt x="12" y="154"/>
                        <a:pt x="12" y="154"/>
                      </a:cubicBezTo>
                      <a:cubicBezTo>
                        <a:pt x="12" y="155"/>
                        <a:pt x="12" y="155"/>
                        <a:pt x="12" y="155"/>
                      </a:cubicBezTo>
                      <a:cubicBezTo>
                        <a:pt x="12" y="155"/>
                        <a:pt x="13" y="155"/>
                        <a:pt x="13" y="156"/>
                      </a:cubicBezTo>
                      <a:cubicBezTo>
                        <a:pt x="13" y="156"/>
                        <a:pt x="13" y="156"/>
                        <a:pt x="13" y="156"/>
                      </a:cubicBezTo>
                      <a:cubicBezTo>
                        <a:pt x="13" y="156"/>
                        <a:pt x="13" y="156"/>
                        <a:pt x="14" y="156"/>
                      </a:cubicBezTo>
                      <a:cubicBezTo>
                        <a:pt x="14" y="156"/>
                        <a:pt x="14" y="156"/>
                        <a:pt x="14" y="156"/>
                      </a:cubicBezTo>
                      <a:cubicBezTo>
                        <a:pt x="14" y="156"/>
                        <a:pt x="14" y="156"/>
                        <a:pt x="14" y="156"/>
                      </a:cubicBezTo>
                      <a:cubicBezTo>
                        <a:pt x="15" y="156"/>
                        <a:pt x="15" y="156"/>
                        <a:pt x="15" y="156"/>
                      </a:cubicBezTo>
                      <a:cubicBezTo>
                        <a:pt x="15" y="156"/>
                        <a:pt x="15" y="156"/>
                        <a:pt x="15" y="156"/>
                      </a:cubicBezTo>
                      <a:cubicBezTo>
                        <a:pt x="16" y="157"/>
                        <a:pt x="16" y="157"/>
                        <a:pt x="16" y="157"/>
                      </a:cubicBezTo>
                      <a:cubicBezTo>
                        <a:pt x="17" y="157"/>
                        <a:pt x="17" y="157"/>
                        <a:pt x="17" y="157"/>
                      </a:cubicBezTo>
                      <a:cubicBezTo>
                        <a:pt x="17" y="157"/>
                        <a:pt x="18" y="157"/>
                        <a:pt x="18" y="156"/>
                      </a:cubicBezTo>
                      <a:cubicBezTo>
                        <a:pt x="18" y="156"/>
                        <a:pt x="18" y="156"/>
                        <a:pt x="18" y="156"/>
                      </a:cubicBezTo>
                      <a:cubicBezTo>
                        <a:pt x="18" y="156"/>
                        <a:pt x="18" y="156"/>
                        <a:pt x="18" y="155"/>
                      </a:cubicBezTo>
                      <a:cubicBezTo>
                        <a:pt x="19" y="155"/>
                        <a:pt x="19" y="155"/>
                        <a:pt x="19" y="156"/>
                      </a:cubicBezTo>
                      <a:cubicBezTo>
                        <a:pt x="20" y="156"/>
                        <a:pt x="20" y="156"/>
                        <a:pt x="20" y="156"/>
                      </a:cubicBezTo>
                      <a:cubicBezTo>
                        <a:pt x="20" y="156"/>
                        <a:pt x="20" y="157"/>
                        <a:pt x="20" y="157"/>
                      </a:cubicBezTo>
                      <a:cubicBezTo>
                        <a:pt x="20" y="157"/>
                        <a:pt x="20" y="158"/>
                        <a:pt x="21" y="158"/>
                      </a:cubicBezTo>
                      <a:cubicBezTo>
                        <a:pt x="21" y="158"/>
                        <a:pt x="21" y="158"/>
                        <a:pt x="21" y="159"/>
                      </a:cubicBezTo>
                      <a:cubicBezTo>
                        <a:pt x="22" y="159"/>
                        <a:pt x="22" y="159"/>
                        <a:pt x="22" y="159"/>
                      </a:cubicBezTo>
                      <a:cubicBezTo>
                        <a:pt x="23" y="159"/>
                        <a:pt x="23" y="159"/>
                        <a:pt x="24" y="160"/>
                      </a:cubicBezTo>
                      <a:cubicBezTo>
                        <a:pt x="24" y="159"/>
                        <a:pt x="25" y="160"/>
                        <a:pt x="25" y="159"/>
                      </a:cubicBezTo>
                      <a:cubicBezTo>
                        <a:pt x="25" y="159"/>
                        <a:pt x="25" y="159"/>
                        <a:pt x="26" y="159"/>
                      </a:cubicBezTo>
                      <a:cubicBezTo>
                        <a:pt x="26" y="159"/>
                        <a:pt x="26" y="159"/>
                        <a:pt x="27" y="159"/>
                      </a:cubicBezTo>
                      <a:cubicBezTo>
                        <a:pt x="27" y="159"/>
                        <a:pt x="27" y="159"/>
                        <a:pt x="27" y="159"/>
                      </a:cubicBezTo>
                      <a:cubicBezTo>
                        <a:pt x="28" y="159"/>
                        <a:pt x="28" y="159"/>
                        <a:pt x="28" y="159"/>
                      </a:cubicBezTo>
                      <a:cubicBezTo>
                        <a:pt x="29" y="160"/>
                        <a:pt x="29" y="160"/>
                        <a:pt x="29" y="160"/>
                      </a:cubicBezTo>
                      <a:cubicBezTo>
                        <a:pt x="29" y="160"/>
                        <a:pt x="30" y="160"/>
                        <a:pt x="30" y="160"/>
                      </a:cubicBezTo>
                      <a:cubicBezTo>
                        <a:pt x="30" y="160"/>
                        <a:pt x="30" y="160"/>
                        <a:pt x="31" y="161"/>
                      </a:cubicBezTo>
                      <a:cubicBezTo>
                        <a:pt x="31" y="161"/>
                        <a:pt x="31" y="161"/>
                        <a:pt x="31" y="161"/>
                      </a:cubicBezTo>
                      <a:cubicBezTo>
                        <a:pt x="32" y="161"/>
                        <a:pt x="32" y="162"/>
                        <a:pt x="32" y="162"/>
                      </a:cubicBezTo>
                      <a:cubicBezTo>
                        <a:pt x="32" y="162"/>
                        <a:pt x="32" y="162"/>
                        <a:pt x="33" y="162"/>
                      </a:cubicBezTo>
                      <a:cubicBezTo>
                        <a:pt x="32" y="163"/>
                        <a:pt x="32" y="163"/>
                        <a:pt x="32" y="163"/>
                      </a:cubicBezTo>
                      <a:cubicBezTo>
                        <a:pt x="32" y="164"/>
                        <a:pt x="32" y="164"/>
                        <a:pt x="31" y="164"/>
                      </a:cubicBezTo>
                      <a:cubicBezTo>
                        <a:pt x="31" y="165"/>
                        <a:pt x="31" y="165"/>
                        <a:pt x="31" y="165"/>
                      </a:cubicBezTo>
                      <a:cubicBezTo>
                        <a:pt x="31" y="166"/>
                        <a:pt x="31" y="166"/>
                        <a:pt x="31" y="166"/>
                      </a:cubicBezTo>
                      <a:cubicBezTo>
                        <a:pt x="31" y="167"/>
                        <a:pt x="31" y="167"/>
                        <a:pt x="31" y="167"/>
                      </a:cubicBezTo>
                      <a:cubicBezTo>
                        <a:pt x="31" y="167"/>
                        <a:pt x="31" y="167"/>
                        <a:pt x="31" y="167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30" y="168"/>
                        <a:pt x="29" y="168"/>
                        <a:pt x="29" y="168"/>
                      </a:cubicBezTo>
                      <a:cubicBezTo>
                        <a:pt x="29" y="168"/>
                        <a:pt x="29" y="168"/>
                        <a:pt x="28" y="168"/>
                      </a:cubicBezTo>
                      <a:cubicBezTo>
                        <a:pt x="28" y="169"/>
                        <a:pt x="28" y="169"/>
                        <a:pt x="28" y="169"/>
                      </a:cubicBezTo>
                      <a:cubicBezTo>
                        <a:pt x="27" y="170"/>
                        <a:pt x="27" y="170"/>
                        <a:pt x="26" y="170"/>
                      </a:cubicBezTo>
                      <a:cubicBezTo>
                        <a:pt x="26" y="171"/>
                        <a:pt x="26" y="171"/>
                        <a:pt x="26" y="172"/>
                      </a:cubicBezTo>
                      <a:cubicBezTo>
                        <a:pt x="26" y="172"/>
                        <a:pt x="25" y="172"/>
                        <a:pt x="25" y="173"/>
                      </a:cubicBezTo>
                      <a:cubicBezTo>
                        <a:pt x="25" y="174"/>
                        <a:pt x="25" y="174"/>
                        <a:pt x="25" y="175"/>
                      </a:cubicBezTo>
                      <a:cubicBezTo>
                        <a:pt x="25" y="175"/>
                        <a:pt x="24" y="175"/>
                        <a:pt x="24" y="176"/>
                      </a:cubicBezTo>
                      <a:cubicBezTo>
                        <a:pt x="24" y="176"/>
                        <a:pt x="24" y="176"/>
                        <a:pt x="24" y="177"/>
                      </a:cubicBezTo>
                      <a:cubicBezTo>
                        <a:pt x="24" y="177"/>
                        <a:pt x="23" y="177"/>
                        <a:pt x="23" y="178"/>
                      </a:cubicBezTo>
                      <a:cubicBezTo>
                        <a:pt x="23" y="178"/>
                        <a:pt x="23" y="179"/>
                        <a:pt x="23" y="179"/>
                      </a:cubicBezTo>
                      <a:cubicBezTo>
                        <a:pt x="23" y="180"/>
                        <a:pt x="23" y="180"/>
                        <a:pt x="23" y="180"/>
                      </a:cubicBezTo>
                      <a:cubicBezTo>
                        <a:pt x="23" y="180"/>
                        <a:pt x="23" y="181"/>
                        <a:pt x="22" y="181"/>
                      </a:cubicBezTo>
                      <a:cubicBezTo>
                        <a:pt x="22" y="182"/>
                        <a:pt x="22" y="182"/>
                        <a:pt x="22" y="182"/>
                      </a:cubicBezTo>
                      <a:cubicBezTo>
                        <a:pt x="22" y="183"/>
                        <a:pt x="21" y="183"/>
                        <a:pt x="21" y="184"/>
                      </a:cubicBezTo>
                      <a:cubicBezTo>
                        <a:pt x="21" y="184"/>
                        <a:pt x="21" y="184"/>
                        <a:pt x="21" y="185"/>
                      </a:cubicBezTo>
                      <a:cubicBezTo>
                        <a:pt x="21" y="185"/>
                        <a:pt x="21" y="185"/>
                        <a:pt x="21" y="185"/>
                      </a:cubicBezTo>
                      <a:cubicBezTo>
                        <a:pt x="21" y="186"/>
                        <a:pt x="21" y="187"/>
                        <a:pt x="21" y="188"/>
                      </a:cubicBezTo>
                      <a:cubicBezTo>
                        <a:pt x="21" y="188"/>
                        <a:pt x="21" y="188"/>
                        <a:pt x="21" y="189"/>
                      </a:cubicBezTo>
                      <a:cubicBezTo>
                        <a:pt x="21" y="189"/>
                        <a:pt x="21" y="189"/>
                        <a:pt x="20" y="189"/>
                      </a:cubicBezTo>
                      <a:cubicBezTo>
                        <a:pt x="20" y="190"/>
                        <a:pt x="20" y="190"/>
                        <a:pt x="20" y="190"/>
                      </a:cubicBezTo>
                      <a:cubicBezTo>
                        <a:pt x="20" y="190"/>
                        <a:pt x="20" y="190"/>
                        <a:pt x="19" y="191"/>
                      </a:cubicBezTo>
                      <a:cubicBezTo>
                        <a:pt x="19" y="191"/>
                        <a:pt x="19" y="191"/>
                        <a:pt x="19" y="191"/>
                      </a:cubicBezTo>
                      <a:cubicBezTo>
                        <a:pt x="19" y="191"/>
                        <a:pt x="19" y="191"/>
                        <a:pt x="18" y="192"/>
                      </a:cubicBezTo>
                      <a:cubicBezTo>
                        <a:pt x="19" y="192"/>
                        <a:pt x="19" y="192"/>
                        <a:pt x="19" y="192"/>
                      </a:cubicBezTo>
                      <a:cubicBezTo>
                        <a:pt x="19" y="193"/>
                        <a:pt x="19" y="193"/>
                        <a:pt x="19" y="193"/>
                      </a:cubicBezTo>
                      <a:cubicBezTo>
                        <a:pt x="19" y="194"/>
                        <a:pt x="19" y="194"/>
                        <a:pt x="19" y="194"/>
                      </a:cubicBezTo>
                      <a:cubicBezTo>
                        <a:pt x="19" y="195"/>
                        <a:pt x="19" y="195"/>
                        <a:pt x="19" y="195"/>
                      </a:cubicBezTo>
                      <a:cubicBezTo>
                        <a:pt x="19" y="195"/>
                        <a:pt x="19" y="196"/>
                        <a:pt x="19" y="196"/>
                      </a:cubicBezTo>
                      <a:cubicBezTo>
                        <a:pt x="20" y="196"/>
                        <a:pt x="20" y="196"/>
                        <a:pt x="20" y="196"/>
                      </a:cubicBezTo>
                      <a:cubicBezTo>
                        <a:pt x="20" y="196"/>
                        <a:pt x="21" y="196"/>
                        <a:pt x="21" y="196"/>
                      </a:cubicBezTo>
                      <a:cubicBezTo>
                        <a:pt x="21" y="196"/>
                        <a:pt x="21" y="196"/>
                        <a:pt x="21" y="196"/>
                      </a:cubicBezTo>
                      <a:cubicBezTo>
                        <a:pt x="22" y="196"/>
                        <a:pt x="22" y="196"/>
                        <a:pt x="22" y="196"/>
                      </a:cubicBezTo>
                      <a:cubicBezTo>
                        <a:pt x="22" y="196"/>
                        <a:pt x="22" y="197"/>
                        <a:pt x="22" y="197"/>
                      </a:cubicBezTo>
                      <a:cubicBezTo>
                        <a:pt x="22" y="197"/>
                        <a:pt x="22" y="197"/>
                        <a:pt x="22" y="198"/>
                      </a:cubicBezTo>
                      <a:cubicBezTo>
                        <a:pt x="22" y="198"/>
                        <a:pt x="22" y="198"/>
                        <a:pt x="22" y="198"/>
                      </a:cubicBezTo>
                      <a:cubicBezTo>
                        <a:pt x="23" y="199"/>
                        <a:pt x="23" y="199"/>
                        <a:pt x="23" y="199"/>
                      </a:cubicBezTo>
                      <a:cubicBezTo>
                        <a:pt x="23" y="199"/>
                        <a:pt x="23" y="199"/>
                        <a:pt x="23" y="199"/>
                      </a:cubicBezTo>
                      <a:cubicBezTo>
                        <a:pt x="24" y="198"/>
                        <a:pt x="24" y="198"/>
                        <a:pt x="24" y="198"/>
                      </a:cubicBezTo>
                      <a:cubicBezTo>
                        <a:pt x="24" y="198"/>
                        <a:pt x="24" y="198"/>
                        <a:pt x="24" y="198"/>
                      </a:cubicBezTo>
                      <a:cubicBezTo>
                        <a:pt x="24" y="198"/>
                        <a:pt x="24" y="198"/>
                        <a:pt x="25" y="198"/>
                      </a:cubicBezTo>
                      <a:cubicBezTo>
                        <a:pt x="25" y="198"/>
                        <a:pt x="25" y="198"/>
                        <a:pt x="25" y="198"/>
                      </a:cubicBezTo>
                      <a:cubicBezTo>
                        <a:pt x="25" y="198"/>
                        <a:pt x="26" y="198"/>
                        <a:pt x="26" y="198"/>
                      </a:cubicBezTo>
                      <a:cubicBezTo>
                        <a:pt x="26" y="198"/>
                        <a:pt x="27" y="198"/>
                        <a:pt x="27" y="198"/>
                      </a:cubicBezTo>
                      <a:cubicBezTo>
                        <a:pt x="27" y="198"/>
                        <a:pt x="28" y="198"/>
                        <a:pt x="28" y="198"/>
                      </a:cubicBezTo>
                      <a:cubicBezTo>
                        <a:pt x="28" y="198"/>
                        <a:pt x="29" y="197"/>
                        <a:pt x="29" y="197"/>
                      </a:cubicBezTo>
                      <a:cubicBezTo>
                        <a:pt x="29" y="197"/>
                        <a:pt x="29" y="197"/>
                        <a:pt x="29" y="197"/>
                      </a:cubicBezTo>
                      <a:cubicBezTo>
                        <a:pt x="29" y="196"/>
                        <a:pt x="30" y="196"/>
                        <a:pt x="30" y="196"/>
                      </a:cubicBezTo>
                      <a:cubicBezTo>
                        <a:pt x="30" y="196"/>
                        <a:pt x="30" y="196"/>
                        <a:pt x="31" y="196"/>
                      </a:cubicBezTo>
                      <a:cubicBezTo>
                        <a:pt x="31" y="197"/>
                        <a:pt x="31" y="197"/>
                        <a:pt x="31" y="197"/>
                      </a:cubicBezTo>
                      <a:cubicBezTo>
                        <a:pt x="31" y="197"/>
                        <a:pt x="32" y="198"/>
                        <a:pt x="32" y="198"/>
                      </a:cubicBezTo>
                      <a:cubicBezTo>
                        <a:pt x="32" y="198"/>
                        <a:pt x="32" y="198"/>
                        <a:pt x="32" y="198"/>
                      </a:cubicBezTo>
                      <a:cubicBezTo>
                        <a:pt x="33" y="198"/>
                        <a:pt x="33" y="198"/>
                        <a:pt x="33" y="198"/>
                      </a:cubicBezTo>
                      <a:cubicBezTo>
                        <a:pt x="33" y="198"/>
                        <a:pt x="34" y="198"/>
                        <a:pt x="34" y="198"/>
                      </a:cubicBezTo>
                      <a:cubicBezTo>
                        <a:pt x="35" y="198"/>
                        <a:pt x="35" y="198"/>
                        <a:pt x="35" y="198"/>
                      </a:cubicBezTo>
                      <a:cubicBezTo>
                        <a:pt x="35" y="198"/>
                        <a:pt x="35" y="198"/>
                        <a:pt x="35" y="198"/>
                      </a:cubicBezTo>
                      <a:cubicBezTo>
                        <a:pt x="35" y="197"/>
                        <a:pt x="35" y="197"/>
                        <a:pt x="35" y="197"/>
                      </a:cubicBezTo>
                      <a:cubicBezTo>
                        <a:pt x="35" y="197"/>
                        <a:pt x="35" y="197"/>
                        <a:pt x="35" y="197"/>
                      </a:cubicBezTo>
                      <a:cubicBezTo>
                        <a:pt x="34" y="197"/>
                        <a:pt x="34" y="197"/>
                        <a:pt x="34" y="197"/>
                      </a:cubicBezTo>
                      <a:cubicBezTo>
                        <a:pt x="34" y="197"/>
                        <a:pt x="34" y="197"/>
                        <a:pt x="33" y="197"/>
                      </a:cubicBezTo>
                      <a:cubicBezTo>
                        <a:pt x="33" y="196"/>
                        <a:pt x="33" y="196"/>
                        <a:pt x="33" y="196"/>
                      </a:cubicBezTo>
                      <a:cubicBezTo>
                        <a:pt x="33" y="196"/>
                        <a:pt x="33" y="196"/>
                        <a:pt x="33" y="195"/>
                      </a:cubicBezTo>
                      <a:cubicBezTo>
                        <a:pt x="34" y="195"/>
                        <a:pt x="34" y="195"/>
                        <a:pt x="34" y="194"/>
                      </a:cubicBezTo>
                      <a:cubicBezTo>
                        <a:pt x="34" y="194"/>
                        <a:pt x="34" y="194"/>
                        <a:pt x="35" y="193"/>
                      </a:cubicBezTo>
                      <a:cubicBezTo>
                        <a:pt x="35" y="193"/>
                        <a:pt x="35" y="193"/>
                        <a:pt x="35" y="193"/>
                      </a:cubicBezTo>
                      <a:cubicBezTo>
                        <a:pt x="36" y="193"/>
                        <a:pt x="36" y="192"/>
                        <a:pt x="36" y="192"/>
                      </a:cubicBezTo>
                      <a:cubicBezTo>
                        <a:pt x="36" y="192"/>
                        <a:pt x="36" y="192"/>
                        <a:pt x="36" y="192"/>
                      </a:cubicBezTo>
                      <a:cubicBezTo>
                        <a:pt x="36" y="192"/>
                        <a:pt x="37" y="193"/>
                        <a:pt x="37" y="193"/>
                      </a:cubicBezTo>
                      <a:cubicBezTo>
                        <a:pt x="37" y="193"/>
                        <a:pt x="37" y="193"/>
                        <a:pt x="37" y="193"/>
                      </a:cubicBezTo>
                      <a:cubicBezTo>
                        <a:pt x="37" y="193"/>
                        <a:pt x="38" y="193"/>
                        <a:pt x="38" y="193"/>
                      </a:cubicBezTo>
                      <a:cubicBezTo>
                        <a:pt x="38" y="193"/>
                        <a:pt x="38" y="193"/>
                        <a:pt x="39" y="193"/>
                      </a:cubicBezTo>
                      <a:cubicBezTo>
                        <a:pt x="39" y="193"/>
                        <a:pt x="39" y="193"/>
                        <a:pt x="39" y="194"/>
                      </a:cubicBezTo>
                      <a:cubicBezTo>
                        <a:pt x="40" y="194"/>
                        <a:pt x="40" y="194"/>
                        <a:pt x="40" y="194"/>
                      </a:cubicBezTo>
                      <a:cubicBezTo>
                        <a:pt x="40" y="194"/>
                        <a:pt x="40" y="194"/>
                        <a:pt x="40" y="194"/>
                      </a:cubicBezTo>
                      <a:cubicBezTo>
                        <a:pt x="40" y="195"/>
                        <a:pt x="40" y="195"/>
                        <a:pt x="39" y="195"/>
                      </a:cubicBezTo>
                      <a:cubicBezTo>
                        <a:pt x="39" y="195"/>
                        <a:pt x="39" y="195"/>
                        <a:pt x="39" y="195"/>
                      </a:cubicBezTo>
                      <a:cubicBezTo>
                        <a:pt x="39" y="195"/>
                        <a:pt x="39" y="195"/>
                        <a:pt x="39" y="196"/>
                      </a:cubicBezTo>
                      <a:cubicBezTo>
                        <a:pt x="39" y="196"/>
                        <a:pt x="39" y="196"/>
                        <a:pt x="39" y="196"/>
                      </a:cubicBezTo>
                      <a:cubicBezTo>
                        <a:pt x="39" y="197"/>
                        <a:pt x="39" y="197"/>
                        <a:pt x="39" y="197"/>
                      </a:cubicBezTo>
                      <a:cubicBezTo>
                        <a:pt x="39" y="197"/>
                        <a:pt x="40" y="197"/>
                        <a:pt x="40" y="197"/>
                      </a:cubicBezTo>
                      <a:cubicBezTo>
                        <a:pt x="40" y="196"/>
                        <a:pt x="40" y="196"/>
                        <a:pt x="40" y="196"/>
                      </a:cubicBezTo>
                      <a:cubicBezTo>
                        <a:pt x="40" y="196"/>
                        <a:pt x="40" y="196"/>
                        <a:pt x="41" y="195"/>
                      </a:cubicBezTo>
                      <a:cubicBezTo>
                        <a:pt x="41" y="195"/>
                        <a:pt x="41" y="195"/>
                        <a:pt x="41" y="195"/>
                      </a:cubicBezTo>
                      <a:cubicBezTo>
                        <a:pt x="41" y="195"/>
                        <a:pt x="41" y="195"/>
                        <a:pt x="42" y="195"/>
                      </a:cubicBezTo>
                      <a:cubicBezTo>
                        <a:pt x="42" y="195"/>
                        <a:pt x="42" y="195"/>
                        <a:pt x="43" y="195"/>
                      </a:cubicBezTo>
                      <a:cubicBezTo>
                        <a:pt x="43" y="195"/>
                        <a:pt x="43" y="195"/>
                        <a:pt x="44" y="195"/>
                      </a:cubicBezTo>
                      <a:cubicBezTo>
                        <a:pt x="44" y="195"/>
                        <a:pt x="44" y="195"/>
                        <a:pt x="44" y="195"/>
                      </a:cubicBezTo>
                      <a:cubicBezTo>
                        <a:pt x="44" y="195"/>
                        <a:pt x="45" y="195"/>
                        <a:pt x="45" y="195"/>
                      </a:cubicBezTo>
                      <a:cubicBezTo>
                        <a:pt x="45" y="195"/>
                        <a:pt x="45" y="195"/>
                        <a:pt x="45" y="195"/>
                      </a:cubicBezTo>
                      <a:cubicBezTo>
                        <a:pt x="46" y="196"/>
                        <a:pt x="46" y="196"/>
                        <a:pt x="46" y="196"/>
                      </a:cubicBezTo>
                      <a:cubicBezTo>
                        <a:pt x="46" y="196"/>
                        <a:pt x="46" y="196"/>
                        <a:pt x="47" y="197"/>
                      </a:cubicBezTo>
                      <a:cubicBezTo>
                        <a:pt x="47" y="197"/>
                        <a:pt x="47" y="197"/>
                        <a:pt x="47" y="197"/>
                      </a:cubicBezTo>
                      <a:cubicBezTo>
                        <a:pt x="47" y="197"/>
                        <a:pt x="47" y="196"/>
                        <a:pt x="47" y="196"/>
                      </a:cubicBezTo>
                      <a:cubicBezTo>
                        <a:pt x="47" y="196"/>
                        <a:pt x="47" y="196"/>
                        <a:pt x="47" y="196"/>
                      </a:cubicBezTo>
                      <a:cubicBezTo>
                        <a:pt x="46" y="195"/>
                        <a:pt x="46" y="195"/>
                        <a:pt x="46" y="195"/>
                      </a:cubicBezTo>
                      <a:cubicBezTo>
                        <a:pt x="46" y="195"/>
                        <a:pt x="45" y="194"/>
                        <a:pt x="45" y="194"/>
                      </a:cubicBezTo>
                      <a:cubicBezTo>
                        <a:pt x="45" y="194"/>
                        <a:pt x="45" y="194"/>
                        <a:pt x="44" y="194"/>
                      </a:cubicBezTo>
                      <a:cubicBezTo>
                        <a:pt x="44" y="193"/>
                        <a:pt x="44" y="193"/>
                        <a:pt x="44" y="193"/>
                      </a:cubicBezTo>
                      <a:cubicBezTo>
                        <a:pt x="44" y="193"/>
                        <a:pt x="44" y="193"/>
                        <a:pt x="44" y="193"/>
                      </a:cubicBezTo>
                      <a:cubicBezTo>
                        <a:pt x="44" y="193"/>
                        <a:pt x="45" y="193"/>
                        <a:pt x="45" y="193"/>
                      </a:cubicBezTo>
                      <a:cubicBezTo>
                        <a:pt x="45" y="193"/>
                        <a:pt x="45" y="193"/>
                        <a:pt x="45" y="193"/>
                      </a:cubicBezTo>
                      <a:cubicBezTo>
                        <a:pt x="46" y="193"/>
                        <a:pt x="46" y="194"/>
                        <a:pt x="46" y="194"/>
                      </a:cubicBezTo>
                      <a:cubicBezTo>
                        <a:pt x="46" y="194"/>
                        <a:pt x="47" y="194"/>
                        <a:pt x="47" y="195"/>
                      </a:cubicBezTo>
                      <a:cubicBezTo>
                        <a:pt x="47" y="195"/>
                        <a:pt x="47" y="195"/>
                        <a:pt x="48" y="195"/>
                      </a:cubicBezTo>
                      <a:cubicBezTo>
                        <a:pt x="48" y="195"/>
                        <a:pt x="48" y="196"/>
                        <a:pt x="49" y="196"/>
                      </a:cubicBezTo>
                      <a:cubicBezTo>
                        <a:pt x="49" y="196"/>
                        <a:pt x="49" y="196"/>
                        <a:pt x="50" y="196"/>
                      </a:cubicBezTo>
                      <a:cubicBezTo>
                        <a:pt x="50" y="196"/>
                        <a:pt x="50" y="196"/>
                        <a:pt x="51" y="196"/>
                      </a:cubicBezTo>
                      <a:cubicBezTo>
                        <a:pt x="51" y="196"/>
                        <a:pt x="51" y="196"/>
                        <a:pt x="51" y="197"/>
                      </a:cubicBezTo>
                      <a:cubicBezTo>
                        <a:pt x="51" y="197"/>
                        <a:pt x="51" y="197"/>
                        <a:pt x="51" y="197"/>
                      </a:cubicBezTo>
                      <a:cubicBezTo>
                        <a:pt x="52" y="197"/>
                        <a:pt x="52" y="197"/>
                        <a:pt x="52" y="197"/>
                      </a:cubicBezTo>
                      <a:cubicBezTo>
                        <a:pt x="53" y="197"/>
                        <a:pt x="53" y="197"/>
                        <a:pt x="53" y="197"/>
                      </a:cubicBezTo>
                      <a:cubicBezTo>
                        <a:pt x="53" y="197"/>
                        <a:pt x="54" y="198"/>
                        <a:pt x="54" y="198"/>
                      </a:cubicBezTo>
                      <a:cubicBezTo>
                        <a:pt x="54" y="198"/>
                        <a:pt x="54" y="198"/>
                        <a:pt x="54" y="199"/>
                      </a:cubicBezTo>
                      <a:cubicBezTo>
                        <a:pt x="55" y="199"/>
                        <a:pt x="55" y="199"/>
                        <a:pt x="55" y="199"/>
                      </a:cubicBezTo>
                      <a:cubicBezTo>
                        <a:pt x="56" y="199"/>
                        <a:pt x="56" y="199"/>
                        <a:pt x="56" y="199"/>
                      </a:cubicBezTo>
                      <a:cubicBezTo>
                        <a:pt x="56" y="199"/>
                        <a:pt x="57" y="199"/>
                        <a:pt x="57" y="199"/>
                      </a:cubicBezTo>
                      <a:cubicBezTo>
                        <a:pt x="57" y="199"/>
                        <a:pt x="58" y="199"/>
                        <a:pt x="58" y="199"/>
                      </a:cubicBezTo>
                      <a:cubicBezTo>
                        <a:pt x="58" y="199"/>
                        <a:pt x="58" y="199"/>
                        <a:pt x="58" y="200"/>
                      </a:cubicBezTo>
                      <a:cubicBezTo>
                        <a:pt x="58" y="200"/>
                        <a:pt x="58" y="200"/>
                        <a:pt x="59" y="200"/>
                      </a:cubicBezTo>
                      <a:cubicBezTo>
                        <a:pt x="59" y="200"/>
                        <a:pt x="59" y="200"/>
                        <a:pt x="60" y="200"/>
                      </a:cubicBezTo>
                      <a:cubicBezTo>
                        <a:pt x="60" y="201"/>
                        <a:pt x="60" y="201"/>
                        <a:pt x="60" y="201"/>
                      </a:cubicBezTo>
                      <a:cubicBezTo>
                        <a:pt x="61" y="201"/>
                        <a:pt x="61" y="201"/>
                        <a:pt x="61" y="202"/>
                      </a:cubicBezTo>
                      <a:cubicBezTo>
                        <a:pt x="61" y="202"/>
                        <a:pt x="61" y="202"/>
                        <a:pt x="62" y="202"/>
                      </a:cubicBezTo>
                      <a:cubicBezTo>
                        <a:pt x="62" y="202"/>
                        <a:pt x="62" y="202"/>
                        <a:pt x="62" y="202"/>
                      </a:cubicBezTo>
                      <a:cubicBezTo>
                        <a:pt x="62" y="203"/>
                        <a:pt x="62" y="203"/>
                        <a:pt x="62" y="203"/>
                      </a:cubicBezTo>
                      <a:cubicBezTo>
                        <a:pt x="62" y="203"/>
                        <a:pt x="62" y="204"/>
                        <a:pt x="62" y="204"/>
                      </a:cubicBezTo>
                      <a:cubicBezTo>
                        <a:pt x="63" y="204"/>
                        <a:pt x="63" y="204"/>
                        <a:pt x="63" y="204"/>
                      </a:cubicBezTo>
                      <a:cubicBezTo>
                        <a:pt x="63" y="204"/>
                        <a:pt x="63" y="204"/>
                        <a:pt x="64" y="204"/>
                      </a:cubicBezTo>
                      <a:cubicBezTo>
                        <a:pt x="64" y="204"/>
                        <a:pt x="64" y="204"/>
                        <a:pt x="64" y="205"/>
                      </a:cubicBezTo>
                      <a:cubicBezTo>
                        <a:pt x="64" y="205"/>
                        <a:pt x="64" y="205"/>
                        <a:pt x="64" y="205"/>
                      </a:cubicBezTo>
                      <a:cubicBezTo>
                        <a:pt x="64" y="205"/>
                        <a:pt x="64" y="205"/>
                        <a:pt x="64" y="206"/>
                      </a:cubicBezTo>
                      <a:cubicBezTo>
                        <a:pt x="64" y="206"/>
                        <a:pt x="64" y="206"/>
                        <a:pt x="64" y="206"/>
                      </a:cubicBezTo>
                      <a:cubicBezTo>
                        <a:pt x="64" y="207"/>
                        <a:pt x="64" y="207"/>
                        <a:pt x="64" y="207"/>
                      </a:cubicBezTo>
                      <a:cubicBezTo>
                        <a:pt x="64" y="207"/>
                        <a:pt x="64" y="207"/>
                        <a:pt x="65" y="207"/>
                      </a:cubicBezTo>
                      <a:cubicBezTo>
                        <a:pt x="65" y="207"/>
                        <a:pt x="65" y="207"/>
                        <a:pt x="65" y="207"/>
                      </a:cubicBezTo>
                      <a:cubicBezTo>
                        <a:pt x="65" y="207"/>
                        <a:pt x="65" y="207"/>
                        <a:pt x="66" y="207"/>
                      </a:cubicBezTo>
                      <a:cubicBezTo>
                        <a:pt x="66" y="206"/>
                        <a:pt x="66" y="206"/>
                        <a:pt x="67" y="206"/>
                      </a:cubicBezTo>
                      <a:cubicBezTo>
                        <a:pt x="67" y="205"/>
                        <a:pt x="67" y="205"/>
                        <a:pt x="67" y="205"/>
                      </a:cubicBezTo>
                      <a:cubicBezTo>
                        <a:pt x="67" y="205"/>
                        <a:pt x="68" y="205"/>
                        <a:pt x="68" y="204"/>
                      </a:cubicBezTo>
                      <a:cubicBezTo>
                        <a:pt x="68" y="204"/>
                        <a:pt x="68" y="204"/>
                        <a:pt x="67" y="204"/>
                      </a:cubicBezTo>
                      <a:cubicBezTo>
                        <a:pt x="67" y="203"/>
                        <a:pt x="67" y="203"/>
                        <a:pt x="67" y="202"/>
                      </a:cubicBezTo>
                      <a:cubicBezTo>
                        <a:pt x="67" y="202"/>
                        <a:pt x="67" y="202"/>
                        <a:pt x="67" y="201"/>
                      </a:cubicBezTo>
                      <a:cubicBezTo>
                        <a:pt x="67" y="201"/>
                        <a:pt x="67" y="201"/>
                        <a:pt x="67" y="200"/>
                      </a:cubicBezTo>
                      <a:cubicBezTo>
                        <a:pt x="67" y="200"/>
                        <a:pt x="67" y="200"/>
                        <a:pt x="68" y="200"/>
                      </a:cubicBezTo>
                      <a:cubicBezTo>
                        <a:pt x="68" y="199"/>
                        <a:pt x="68" y="199"/>
                        <a:pt x="68" y="199"/>
                      </a:cubicBezTo>
                      <a:cubicBezTo>
                        <a:pt x="68" y="199"/>
                        <a:pt x="68" y="199"/>
                        <a:pt x="68" y="198"/>
                      </a:cubicBezTo>
                      <a:cubicBezTo>
                        <a:pt x="69" y="198"/>
                        <a:pt x="69" y="198"/>
                        <a:pt x="69" y="198"/>
                      </a:cubicBezTo>
                      <a:cubicBezTo>
                        <a:pt x="69" y="199"/>
                        <a:pt x="69" y="199"/>
                        <a:pt x="69" y="199"/>
                      </a:cubicBezTo>
                      <a:cubicBezTo>
                        <a:pt x="69" y="200"/>
                        <a:pt x="69" y="200"/>
                        <a:pt x="70" y="200"/>
                      </a:cubicBezTo>
                      <a:cubicBezTo>
                        <a:pt x="70" y="201"/>
                        <a:pt x="70" y="201"/>
                        <a:pt x="70" y="201"/>
                      </a:cubicBezTo>
                      <a:cubicBezTo>
                        <a:pt x="70" y="201"/>
                        <a:pt x="71" y="201"/>
                        <a:pt x="71" y="201"/>
                      </a:cubicBezTo>
                      <a:cubicBezTo>
                        <a:pt x="71" y="201"/>
                        <a:pt x="71" y="201"/>
                        <a:pt x="71" y="200"/>
                      </a:cubicBezTo>
                      <a:cubicBezTo>
                        <a:pt x="72" y="200"/>
                        <a:pt x="72" y="200"/>
                        <a:pt x="72" y="200"/>
                      </a:cubicBezTo>
                      <a:cubicBezTo>
                        <a:pt x="73" y="200"/>
                        <a:pt x="73" y="200"/>
                        <a:pt x="73" y="200"/>
                      </a:cubicBezTo>
                      <a:cubicBezTo>
                        <a:pt x="74" y="200"/>
                        <a:pt x="74" y="201"/>
                        <a:pt x="74" y="201"/>
                      </a:cubicBezTo>
                      <a:cubicBezTo>
                        <a:pt x="74" y="201"/>
                        <a:pt x="75" y="201"/>
                        <a:pt x="75" y="201"/>
                      </a:cubicBezTo>
                      <a:cubicBezTo>
                        <a:pt x="75" y="201"/>
                        <a:pt x="75" y="201"/>
                        <a:pt x="76" y="202"/>
                      </a:cubicBezTo>
                      <a:cubicBezTo>
                        <a:pt x="76" y="202"/>
                        <a:pt x="76" y="202"/>
                        <a:pt x="76" y="202"/>
                      </a:cubicBezTo>
                      <a:cubicBezTo>
                        <a:pt x="76" y="202"/>
                        <a:pt x="76" y="202"/>
                        <a:pt x="77" y="202"/>
                      </a:cubicBezTo>
                      <a:cubicBezTo>
                        <a:pt x="77" y="203"/>
                        <a:pt x="77" y="203"/>
                        <a:pt x="77" y="203"/>
                      </a:cubicBezTo>
                      <a:cubicBezTo>
                        <a:pt x="77" y="203"/>
                        <a:pt x="77" y="204"/>
                        <a:pt x="77" y="204"/>
                      </a:cubicBezTo>
                      <a:cubicBezTo>
                        <a:pt x="77" y="204"/>
                        <a:pt x="77" y="204"/>
                        <a:pt x="77" y="205"/>
                      </a:cubicBezTo>
                      <a:cubicBezTo>
                        <a:pt x="78" y="205"/>
                        <a:pt x="78" y="205"/>
                        <a:pt x="78" y="205"/>
                      </a:cubicBezTo>
                      <a:cubicBezTo>
                        <a:pt x="79" y="205"/>
                        <a:pt x="79" y="205"/>
                        <a:pt x="79" y="205"/>
                      </a:cubicBezTo>
                      <a:cubicBezTo>
                        <a:pt x="79" y="204"/>
                        <a:pt x="79" y="204"/>
                        <a:pt x="80" y="204"/>
                      </a:cubicBezTo>
                      <a:cubicBezTo>
                        <a:pt x="80" y="204"/>
                        <a:pt x="80" y="204"/>
                        <a:pt x="80" y="204"/>
                      </a:cubicBezTo>
                      <a:cubicBezTo>
                        <a:pt x="81" y="204"/>
                        <a:pt x="81" y="204"/>
                        <a:pt x="81" y="204"/>
                      </a:cubicBezTo>
                      <a:cubicBezTo>
                        <a:pt x="81" y="204"/>
                        <a:pt x="81" y="204"/>
                        <a:pt x="82" y="204"/>
                      </a:cubicBezTo>
                      <a:cubicBezTo>
                        <a:pt x="82" y="204"/>
                        <a:pt x="82" y="204"/>
                        <a:pt x="83" y="204"/>
                      </a:cubicBezTo>
                      <a:cubicBezTo>
                        <a:pt x="83" y="203"/>
                        <a:pt x="83" y="203"/>
                        <a:pt x="83" y="203"/>
                      </a:cubicBezTo>
                      <a:cubicBezTo>
                        <a:pt x="84" y="203"/>
                        <a:pt x="84" y="203"/>
                        <a:pt x="85" y="202"/>
                      </a:cubicBezTo>
                      <a:cubicBezTo>
                        <a:pt x="85" y="202"/>
                        <a:pt x="85" y="202"/>
                        <a:pt x="86" y="202"/>
                      </a:cubicBezTo>
                      <a:cubicBezTo>
                        <a:pt x="86" y="202"/>
                        <a:pt x="86" y="202"/>
                        <a:pt x="87" y="202"/>
                      </a:cubicBezTo>
                      <a:cubicBezTo>
                        <a:pt x="87" y="202"/>
                        <a:pt x="88" y="202"/>
                        <a:pt x="88" y="202"/>
                      </a:cubicBezTo>
                      <a:cubicBezTo>
                        <a:pt x="89" y="202"/>
                        <a:pt x="89" y="202"/>
                        <a:pt x="89" y="201"/>
                      </a:cubicBezTo>
                      <a:cubicBezTo>
                        <a:pt x="89" y="201"/>
                        <a:pt x="90" y="201"/>
                        <a:pt x="90" y="200"/>
                      </a:cubicBezTo>
                      <a:cubicBezTo>
                        <a:pt x="90" y="200"/>
                        <a:pt x="91" y="200"/>
                        <a:pt x="91" y="199"/>
                      </a:cubicBezTo>
                      <a:cubicBezTo>
                        <a:pt x="91" y="199"/>
                        <a:pt x="92" y="199"/>
                        <a:pt x="92" y="199"/>
                      </a:cubicBezTo>
                      <a:cubicBezTo>
                        <a:pt x="93" y="199"/>
                        <a:pt x="93" y="199"/>
                        <a:pt x="94" y="199"/>
                      </a:cubicBezTo>
                      <a:cubicBezTo>
                        <a:pt x="94" y="199"/>
                        <a:pt x="95" y="199"/>
                        <a:pt x="95" y="199"/>
                      </a:cubicBezTo>
                      <a:cubicBezTo>
                        <a:pt x="96" y="199"/>
                        <a:pt x="96" y="199"/>
                        <a:pt x="97" y="199"/>
                      </a:cubicBezTo>
                      <a:cubicBezTo>
                        <a:pt x="97" y="199"/>
                        <a:pt x="97" y="199"/>
                        <a:pt x="98" y="199"/>
                      </a:cubicBezTo>
                      <a:cubicBezTo>
                        <a:pt x="98" y="199"/>
                        <a:pt x="98" y="199"/>
                        <a:pt x="98" y="198"/>
                      </a:cubicBezTo>
                      <a:cubicBezTo>
                        <a:pt x="98" y="198"/>
                        <a:pt x="99" y="198"/>
                        <a:pt x="99" y="198"/>
                      </a:cubicBezTo>
                      <a:cubicBezTo>
                        <a:pt x="99" y="197"/>
                        <a:pt x="99" y="197"/>
                        <a:pt x="99" y="197"/>
                      </a:cubicBezTo>
                      <a:cubicBezTo>
                        <a:pt x="99" y="196"/>
                        <a:pt x="100" y="196"/>
                        <a:pt x="100" y="196"/>
                      </a:cubicBezTo>
                      <a:cubicBezTo>
                        <a:pt x="100" y="196"/>
                        <a:pt x="100" y="196"/>
                        <a:pt x="101" y="196"/>
                      </a:cubicBezTo>
                      <a:cubicBezTo>
                        <a:pt x="101" y="196"/>
                        <a:pt x="101" y="197"/>
                        <a:pt x="101" y="197"/>
                      </a:cubicBezTo>
                      <a:cubicBezTo>
                        <a:pt x="101" y="197"/>
                        <a:pt x="101" y="197"/>
                        <a:pt x="102" y="197"/>
                      </a:cubicBezTo>
                      <a:cubicBezTo>
                        <a:pt x="102" y="198"/>
                        <a:pt x="102" y="198"/>
                        <a:pt x="102" y="198"/>
                      </a:cubicBezTo>
                      <a:cubicBezTo>
                        <a:pt x="103" y="198"/>
                        <a:pt x="103" y="198"/>
                        <a:pt x="103" y="198"/>
                      </a:cubicBezTo>
                      <a:cubicBezTo>
                        <a:pt x="103" y="198"/>
                        <a:pt x="103" y="198"/>
                        <a:pt x="104" y="199"/>
                      </a:cubicBezTo>
                      <a:cubicBezTo>
                        <a:pt x="104" y="199"/>
                        <a:pt x="104" y="199"/>
                        <a:pt x="104" y="199"/>
                      </a:cubicBezTo>
                      <a:cubicBezTo>
                        <a:pt x="105" y="199"/>
                        <a:pt x="105" y="199"/>
                        <a:pt x="105" y="199"/>
                      </a:cubicBezTo>
                      <a:cubicBezTo>
                        <a:pt x="105" y="199"/>
                        <a:pt x="105" y="198"/>
                        <a:pt x="105" y="198"/>
                      </a:cubicBezTo>
                      <a:cubicBezTo>
                        <a:pt x="105" y="198"/>
                        <a:pt x="106" y="198"/>
                        <a:pt x="106" y="198"/>
                      </a:cubicBezTo>
                      <a:cubicBezTo>
                        <a:pt x="106" y="198"/>
                        <a:pt x="106" y="198"/>
                        <a:pt x="107" y="198"/>
                      </a:cubicBezTo>
                      <a:cubicBezTo>
                        <a:pt x="107" y="198"/>
                        <a:pt x="107" y="198"/>
                        <a:pt x="107" y="198"/>
                      </a:cubicBezTo>
                      <a:cubicBezTo>
                        <a:pt x="107" y="198"/>
                        <a:pt x="107" y="198"/>
                        <a:pt x="108" y="198"/>
                      </a:cubicBezTo>
                      <a:cubicBezTo>
                        <a:pt x="108" y="198"/>
                        <a:pt x="108" y="198"/>
                        <a:pt x="108" y="198"/>
                      </a:cubicBezTo>
                      <a:cubicBezTo>
                        <a:pt x="108" y="198"/>
                        <a:pt x="108" y="198"/>
                        <a:pt x="108" y="197"/>
                      </a:cubicBezTo>
                      <a:cubicBezTo>
                        <a:pt x="109" y="198"/>
                        <a:pt x="109" y="198"/>
                        <a:pt x="109" y="198"/>
                      </a:cubicBezTo>
                      <a:cubicBezTo>
                        <a:pt x="109" y="198"/>
                        <a:pt x="109" y="198"/>
                        <a:pt x="109" y="198"/>
                      </a:cubicBezTo>
                      <a:cubicBezTo>
                        <a:pt x="109" y="199"/>
                        <a:pt x="109" y="199"/>
                        <a:pt x="109" y="199"/>
                      </a:cubicBezTo>
                      <a:cubicBezTo>
                        <a:pt x="109" y="199"/>
                        <a:pt x="109" y="199"/>
                        <a:pt x="109" y="200"/>
                      </a:cubicBezTo>
                      <a:cubicBezTo>
                        <a:pt x="109" y="200"/>
                        <a:pt x="109" y="200"/>
                        <a:pt x="109" y="200"/>
                      </a:cubicBezTo>
                      <a:cubicBezTo>
                        <a:pt x="109" y="200"/>
                        <a:pt x="109" y="200"/>
                        <a:pt x="109" y="201"/>
                      </a:cubicBezTo>
                      <a:cubicBezTo>
                        <a:pt x="110" y="201"/>
                        <a:pt x="110" y="201"/>
                        <a:pt x="110" y="201"/>
                      </a:cubicBezTo>
                      <a:cubicBezTo>
                        <a:pt x="110" y="201"/>
                        <a:pt x="110" y="201"/>
                        <a:pt x="111" y="202"/>
                      </a:cubicBezTo>
                      <a:cubicBezTo>
                        <a:pt x="111" y="202"/>
                        <a:pt x="111" y="202"/>
                        <a:pt x="111" y="202"/>
                      </a:cubicBezTo>
                      <a:cubicBezTo>
                        <a:pt x="111" y="203"/>
                        <a:pt x="112" y="203"/>
                        <a:pt x="112" y="203"/>
                      </a:cubicBezTo>
                      <a:cubicBezTo>
                        <a:pt x="112" y="203"/>
                        <a:pt x="112" y="203"/>
                        <a:pt x="113" y="203"/>
                      </a:cubicBezTo>
                      <a:cubicBezTo>
                        <a:pt x="113" y="203"/>
                        <a:pt x="113" y="203"/>
                        <a:pt x="113" y="202"/>
                      </a:cubicBezTo>
                      <a:cubicBezTo>
                        <a:pt x="114" y="202"/>
                        <a:pt x="114" y="201"/>
                        <a:pt x="114" y="201"/>
                      </a:cubicBezTo>
                      <a:cubicBezTo>
                        <a:pt x="114" y="200"/>
                        <a:pt x="114" y="200"/>
                        <a:pt x="114" y="199"/>
                      </a:cubicBezTo>
                      <a:cubicBezTo>
                        <a:pt x="114" y="199"/>
                        <a:pt x="114" y="199"/>
                        <a:pt x="114" y="198"/>
                      </a:cubicBezTo>
                      <a:cubicBezTo>
                        <a:pt x="114" y="198"/>
                        <a:pt x="113" y="198"/>
                        <a:pt x="113" y="198"/>
                      </a:cubicBezTo>
                      <a:cubicBezTo>
                        <a:pt x="113" y="198"/>
                        <a:pt x="113" y="198"/>
                        <a:pt x="112" y="197"/>
                      </a:cubicBezTo>
                      <a:cubicBezTo>
                        <a:pt x="112" y="197"/>
                        <a:pt x="112" y="197"/>
                        <a:pt x="111" y="197"/>
                      </a:cubicBezTo>
                      <a:cubicBezTo>
                        <a:pt x="111" y="196"/>
                        <a:pt x="111" y="196"/>
                        <a:pt x="111" y="196"/>
                      </a:cubicBezTo>
                      <a:cubicBezTo>
                        <a:pt x="111" y="196"/>
                        <a:pt x="111" y="196"/>
                        <a:pt x="112" y="195"/>
                      </a:cubicBezTo>
                      <a:cubicBezTo>
                        <a:pt x="112" y="195"/>
                        <a:pt x="112" y="195"/>
                        <a:pt x="112" y="194"/>
                      </a:cubicBezTo>
                      <a:cubicBezTo>
                        <a:pt x="112" y="194"/>
                        <a:pt x="113" y="194"/>
                        <a:pt x="113" y="193"/>
                      </a:cubicBezTo>
                      <a:cubicBezTo>
                        <a:pt x="113" y="193"/>
                        <a:pt x="113" y="193"/>
                        <a:pt x="113" y="193"/>
                      </a:cubicBezTo>
                      <a:cubicBezTo>
                        <a:pt x="113" y="192"/>
                        <a:pt x="113" y="192"/>
                        <a:pt x="113" y="191"/>
                      </a:cubicBezTo>
                      <a:cubicBezTo>
                        <a:pt x="113" y="191"/>
                        <a:pt x="113" y="191"/>
                        <a:pt x="112" y="191"/>
                      </a:cubicBezTo>
                      <a:cubicBezTo>
                        <a:pt x="112" y="191"/>
                        <a:pt x="112" y="190"/>
                        <a:pt x="112" y="190"/>
                      </a:cubicBezTo>
                      <a:cubicBezTo>
                        <a:pt x="111" y="190"/>
                        <a:pt x="111" y="190"/>
                        <a:pt x="111" y="190"/>
                      </a:cubicBezTo>
                      <a:cubicBezTo>
                        <a:pt x="110" y="190"/>
                        <a:pt x="110" y="190"/>
                        <a:pt x="110" y="190"/>
                      </a:cubicBezTo>
                      <a:cubicBezTo>
                        <a:pt x="110" y="190"/>
                        <a:pt x="110" y="190"/>
                        <a:pt x="110" y="189"/>
                      </a:cubicBezTo>
                      <a:cubicBezTo>
                        <a:pt x="110" y="189"/>
                        <a:pt x="110" y="189"/>
                        <a:pt x="110" y="189"/>
                      </a:cubicBezTo>
                      <a:cubicBezTo>
                        <a:pt x="109" y="188"/>
                        <a:pt x="109" y="188"/>
                        <a:pt x="109" y="188"/>
                      </a:cubicBezTo>
                      <a:cubicBezTo>
                        <a:pt x="109" y="188"/>
                        <a:pt x="109" y="188"/>
                        <a:pt x="109" y="187"/>
                      </a:cubicBezTo>
                      <a:cubicBezTo>
                        <a:pt x="109" y="187"/>
                        <a:pt x="109" y="187"/>
                        <a:pt x="108" y="187"/>
                      </a:cubicBezTo>
                      <a:cubicBezTo>
                        <a:pt x="109" y="186"/>
                        <a:pt x="109" y="186"/>
                        <a:pt x="109" y="186"/>
                      </a:cubicBezTo>
                      <a:cubicBezTo>
                        <a:pt x="109" y="185"/>
                        <a:pt x="109" y="185"/>
                        <a:pt x="110" y="185"/>
                      </a:cubicBezTo>
                      <a:cubicBezTo>
                        <a:pt x="110" y="184"/>
                        <a:pt x="110" y="184"/>
                        <a:pt x="110" y="184"/>
                      </a:cubicBezTo>
                      <a:cubicBezTo>
                        <a:pt x="111" y="184"/>
                        <a:pt x="111" y="184"/>
                        <a:pt x="111" y="184"/>
                      </a:cubicBezTo>
                      <a:cubicBezTo>
                        <a:pt x="111" y="184"/>
                        <a:pt x="112" y="184"/>
                        <a:pt x="112" y="184"/>
                      </a:cubicBezTo>
                      <a:cubicBezTo>
                        <a:pt x="112" y="184"/>
                        <a:pt x="112" y="184"/>
                        <a:pt x="112" y="183"/>
                      </a:cubicBezTo>
                      <a:cubicBezTo>
                        <a:pt x="112" y="183"/>
                        <a:pt x="112" y="183"/>
                        <a:pt x="113" y="183"/>
                      </a:cubicBezTo>
                      <a:cubicBezTo>
                        <a:pt x="113" y="182"/>
                        <a:pt x="113" y="182"/>
                        <a:pt x="113" y="182"/>
                      </a:cubicBezTo>
                      <a:cubicBezTo>
                        <a:pt x="113" y="182"/>
                        <a:pt x="113" y="182"/>
                        <a:pt x="114" y="181"/>
                      </a:cubicBezTo>
                      <a:cubicBezTo>
                        <a:pt x="114" y="181"/>
                        <a:pt x="114" y="181"/>
                        <a:pt x="115" y="181"/>
                      </a:cubicBezTo>
                      <a:cubicBezTo>
                        <a:pt x="115" y="181"/>
                        <a:pt x="115" y="181"/>
                        <a:pt x="115" y="181"/>
                      </a:cubicBezTo>
                      <a:cubicBezTo>
                        <a:pt x="116" y="181"/>
                        <a:pt x="116" y="181"/>
                        <a:pt x="117" y="180"/>
                      </a:cubicBezTo>
                      <a:cubicBezTo>
                        <a:pt x="117" y="180"/>
                        <a:pt x="118" y="180"/>
                        <a:pt x="118" y="179"/>
                      </a:cubicBezTo>
                      <a:cubicBezTo>
                        <a:pt x="118" y="179"/>
                        <a:pt x="119" y="178"/>
                        <a:pt x="119" y="178"/>
                      </a:cubicBezTo>
                      <a:cubicBezTo>
                        <a:pt x="119" y="177"/>
                        <a:pt x="119" y="177"/>
                        <a:pt x="119" y="177"/>
                      </a:cubicBezTo>
                      <a:cubicBezTo>
                        <a:pt x="119" y="176"/>
                        <a:pt x="119" y="175"/>
                        <a:pt x="120" y="175"/>
                      </a:cubicBezTo>
                      <a:cubicBezTo>
                        <a:pt x="120" y="174"/>
                        <a:pt x="120" y="174"/>
                        <a:pt x="120" y="174"/>
                      </a:cubicBezTo>
                      <a:cubicBezTo>
                        <a:pt x="120" y="174"/>
                        <a:pt x="120" y="173"/>
                        <a:pt x="121" y="173"/>
                      </a:cubicBezTo>
                      <a:cubicBezTo>
                        <a:pt x="121" y="173"/>
                        <a:pt x="122" y="173"/>
                        <a:pt x="122" y="173"/>
                      </a:cubicBezTo>
                      <a:cubicBezTo>
                        <a:pt x="123" y="173"/>
                        <a:pt x="123" y="173"/>
                        <a:pt x="124" y="173"/>
                      </a:cubicBezTo>
                      <a:cubicBezTo>
                        <a:pt x="124" y="173"/>
                        <a:pt x="124" y="173"/>
                        <a:pt x="124" y="172"/>
                      </a:cubicBezTo>
                      <a:cubicBezTo>
                        <a:pt x="124" y="172"/>
                        <a:pt x="124" y="172"/>
                        <a:pt x="124" y="171"/>
                      </a:cubicBezTo>
                      <a:cubicBezTo>
                        <a:pt x="124" y="170"/>
                        <a:pt x="124" y="169"/>
                        <a:pt x="124" y="168"/>
                      </a:cubicBezTo>
                      <a:cubicBezTo>
                        <a:pt x="124" y="167"/>
                        <a:pt x="124" y="167"/>
                        <a:pt x="124" y="166"/>
                      </a:cubicBezTo>
                      <a:cubicBezTo>
                        <a:pt x="123" y="166"/>
                        <a:pt x="122" y="166"/>
                        <a:pt x="121" y="165"/>
                      </a:cubicBezTo>
                      <a:cubicBezTo>
                        <a:pt x="121" y="165"/>
                        <a:pt x="121" y="165"/>
                        <a:pt x="120" y="164"/>
                      </a:cubicBezTo>
                      <a:cubicBezTo>
                        <a:pt x="119" y="164"/>
                        <a:pt x="119" y="164"/>
                        <a:pt x="118" y="163"/>
                      </a:cubicBezTo>
                      <a:cubicBezTo>
                        <a:pt x="118" y="163"/>
                        <a:pt x="118" y="163"/>
                        <a:pt x="118" y="162"/>
                      </a:cubicBezTo>
                      <a:cubicBezTo>
                        <a:pt x="118" y="162"/>
                        <a:pt x="118" y="161"/>
                        <a:pt x="118" y="161"/>
                      </a:cubicBezTo>
                      <a:cubicBezTo>
                        <a:pt x="117" y="161"/>
                        <a:pt x="117" y="160"/>
                        <a:pt x="117" y="160"/>
                      </a:cubicBezTo>
                      <a:cubicBezTo>
                        <a:pt x="117" y="160"/>
                        <a:pt x="117" y="160"/>
                        <a:pt x="116" y="159"/>
                      </a:cubicBezTo>
                      <a:cubicBezTo>
                        <a:pt x="116" y="159"/>
                        <a:pt x="116" y="159"/>
                        <a:pt x="115" y="159"/>
                      </a:cubicBezTo>
                      <a:cubicBezTo>
                        <a:pt x="115" y="159"/>
                        <a:pt x="115" y="159"/>
                        <a:pt x="114" y="159"/>
                      </a:cubicBezTo>
                      <a:cubicBezTo>
                        <a:pt x="114" y="159"/>
                        <a:pt x="114" y="159"/>
                        <a:pt x="114" y="158"/>
                      </a:cubicBezTo>
                      <a:cubicBezTo>
                        <a:pt x="113" y="157"/>
                        <a:pt x="113" y="157"/>
                        <a:pt x="113" y="156"/>
                      </a:cubicBezTo>
                      <a:cubicBezTo>
                        <a:pt x="112" y="155"/>
                        <a:pt x="111" y="154"/>
                        <a:pt x="110" y="153"/>
                      </a:cubicBezTo>
                      <a:cubicBezTo>
                        <a:pt x="110" y="153"/>
                        <a:pt x="110" y="153"/>
                        <a:pt x="110" y="153"/>
                      </a:cubicBezTo>
                      <a:cubicBezTo>
                        <a:pt x="109" y="153"/>
                        <a:pt x="109" y="153"/>
                        <a:pt x="108" y="153"/>
                      </a:cubicBezTo>
                      <a:cubicBezTo>
                        <a:pt x="108" y="153"/>
                        <a:pt x="107" y="153"/>
                        <a:pt x="107" y="153"/>
                      </a:cubicBezTo>
                      <a:cubicBezTo>
                        <a:pt x="107" y="152"/>
                        <a:pt x="106" y="152"/>
                        <a:pt x="106" y="151"/>
                      </a:cubicBezTo>
                      <a:cubicBezTo>
                        <a:pt x="106" y="150"/>
                        <a:pt x="105" y="150"/>
                        <a:pt x="105" y="149"/>
                      </a:cubicBezTo>
                      <a:cubicBezTo>
                        <a:pt x="105" y="148"/>
                        <a:pt x="104" y="148"/>
                        <a:pt x="104" y="147"/>
                      </a:cubicBezTo>
                      <a:cubicBezTo>
                        <a:pt x="104" y="147"/>
                        <a:pt x="104" y="147"/>
                        <a:pt x="104" y="146"/>
                      </a:cubicBezTo>
                      <a:cubicBezTo>
                        <a:pt x="103" y="145"/>
                        <a:pt x="103" y="145"/>
                        <a:pt x="102" y="144"/>
                      </a:cubicBezTo>
                      <a:cubicBezTo>
                        <a:pt x="102" y="143"/>
                        <a:pt x="102" y="143"/>
                        <a:pt x="102" y="142"/>
                      </a:cubicBezTo>
                      <a:cubicBezTo>
                        <a:pt x="102" y="142"/>
                        <a:pt x="102" y="142"/>
                        <a:pt x="101" y="141"/>
                      </a:cubicBezTo>
                      <a:cubicBezTo>
                        <a:pt x="102" y="140"/>
                        <a:pt x="102" y="140"/>
                        <a:pt x="102" y="139"/>
                      </a:cubicBezTo>
                      <a:cubicBezTo>
                        <a:pt x="102" y="138"/>
                        <a:pt x="102" y="138"/>
                        <a:pt x="103" y="138"/>
                      </a:cubicBezTo>
                      <a:cubicBezTo>
                        <a:pt x="102" y="137"/>
                        <a:pt x="102" y="137"/>
                        <a:pt x="102" y="136"/>
                      </a:cubicBezTo>
                      <a:cubicBezTo>
                        <a:pt x="101" y="135"/>
                        <a:pt x="101" y="135"/>
                        <a:pt x="101" y="134"/>
                      </a:cubicBezTo>
                      <a:cubicBezTo>
                        <a:pt x="100" y="134"/>
                        <a:pt x="99" y="133"/>
                        <a:pt x="99" y="132"/>
                      </a:cubicBezTo>
                      <a:cubicBezTo>
                        <a:pt x="98" y="132"/>
                        <a:pt x="98" y="131"/>
                        <a:pt x="97" y="131"/>
                      </a:cubicBezTo>
                      <a:cubicBezTo>
                        <a:pt x="97" y="130"/>
                        <a:pt x="97" y="130"/>
                        <a:pt x="97" y="130"/>
                      </a:cubicBezTo>
                      <a:cubicBezTo>
                        <a:pt x="97" y="129"/>
                        <a:pt x="97" y="129"/>
                        <a:pt x="97" y="129"/>
                      </a:cubicBezTo>
                      <a:cubicBezTo>
                        <a:pt x="97" y="129"/>
                        <a:pt x="97" y="129"/>
                        <a:pt x="98" y="128"/>
                      </a:cubicBezTo>
                      <a:cubicBezTo>
                        <a:pt x="99" y="128"/>
                        <a:pt x="99" y="128"/>
                        <a:pt x="101" y="129"/>
                      </a:cubicBezTo>
                      <a:cubicBezTo>
                        <a:pt x="101" y="128"/>
                        <a:pt x="102" y="128"/>
                        <a:pt x="102" y="127"/>
                      </a:cubicBezTo>
                      <a:cubicBezTo>
                        <a:pt x="103" y="126"/>
                        <a:pt x="103" y="126"/>
                        <a:pt x="104" y="125"/>
                      </a:cubicBezTo>
                      <a:cubicBezTo>
                        <a:pt x="105" y="125"/>
                        <a:pt x="105" y="124"/>
                        <a:pt x="106" y="124"/>
                      </a:cubicBezTo>
                      <a:cubicBezTo>
                        <a:pt x="107" y="124"/>
                        <a:pt x="107" y="124"/>
                        <a:pt x="108" y="123"/>
                      </a:cubicBezTo>
                      <a:cubicBezTo>
                        <a:pt x="109" y="124"/>
                        <a:pt x="109" y="124"/>
                        <a:pt x="110" y="124"/>
                      </a:cubicBezTo>
                      <a:cubicBezTo>
                        <a:pt x="110" y="124"/>
                        <a:pt x="111" y="123"/>
                        <a:pt x="111" y="123"/>
                      </a:cubicBezTo>
                      <a:cubicBezTo>
                        <a:pt x="112" y="122"/>
                        <a:pt x="112" y="122"/>
                        <a:pt x="113" y="121"/>
                      </a:cubicBezTo>
                      <a:cubicBezTo>
                        <a:pt x="114" y="120"/>
                        <a:pt x="114" y="120"/>
                        <a:pt x="115" y="119"/>
                      </a:cubicBezTo>
                      <a:cubicBezTo>
                        <a:pt x="116" y="119"/>
                        <a:pt x="117" y="119"/>
                        <a:pt x="118" y="118"/>
                      </a:cubicBezTo>
                      <a:cubicBezTo>
                        <a:pt x="118" y="118"/>
                        <a:pt x="119" y="118"/>
                        <a:pt x="119" y="118"/>
                      </a:cubicBezTo>
                      <a:cubicBezTo>
                        <a:pt x="120" y="117"/>
                        <a:pt x="120" y="117"/>
                        <a:pt x="120" y="117"/>
                      </a:cubicBezTo>
                      <a:cubicBezTo>
                        <a:pt x="120" y="116"/>
                        <a:pt x="120" y="116"/>
                        <a:pt x="120" y="116"/>
                      </a:cubicBezTo>
                      <a:cubicBezTo>
                        <a:pt x="120" y="116"/>
                        <a:pt x="121" y="116"/>
                        <a:pt x="121" y="116"/>
                      </a:cubicBezTo>
                      <a:cubicBezTo>
                        <a:pt x="122" y="116"/>
                        <a:pt x="122" y="116"/>
                        <a:pt x="123" y="116"/>
                      </a:cubicBezTo>
                      <a:cubicBezTo>
                        <a:pt x="123" y="115"/>
                        <a:pt x="124" y="115"/>
                        <a:pt x="125" y="115"/>
                      </a:cubicBezTo>
                      <a:cubicBezTo>
                        <a:pt x="125" y="115"/>
                        <a:pt x="126" y="115"/>
                        <a:pt x="126" y="114"/>
                      </a:cubicBezTo>
                      <a:cubicBezTo>
                        <a:pt x="127" y="114"/>
                        <a:pt x="127" y="114"/>
                        <a:pt x="127" y="113"/>
                      </a:cubicBezTo>
                      <a:cubicBezTo>
                        <a:pt x="128" y="113"/>
                        <a:pt x="128" y="113"/>
                        <a:pt x="129" y="113"/>
                      </a:cubicBezTo>
                      <a:cubicBezTo>
                        <a:pt x="130" y="113"/>
                        <a:pt x="130" y="113"/>
                        <a:pt x="130" y="113"/>
                      </a:cubicBezTo>
                      <a:cubicBezTo>
                        <a:pt x="131" y="112"/>
                        <a:pt x="131" y="112"/>
                        <a:pt x="132" y="111"/>
                      </a:cubicBezTo>
                      <a:cubicBezTo>
                        <a:pt x="132" y="111"/>
                        <a:pt x="132" y="111"/>
                        <a:pt x="133" y="110"/>
                      </a:cubicBezTo>
                      <a:cubicBezTo>
                        <a:pt x="133" y="110"/>
                        <a:pt x="133" y="110"/>
                        <a:pt x="133" y="109"/>
                      </a:cubicBezTo>
                      <a:cubicBezTo>
                        <a:pt x="133" y="109"/>
                        <a:pt x="133" y="109"/>
                        <a:pt x="132" y="108"/>
                      </a:cubicBezTo>
                      <a:cubicBezTo>
                        <a:pt x="132" y="108"/>
                        <a:pt x="132" y="108"/>
                        <a:pt x="132" y="107"/>
                      </a:cubicBezTo>
                      <a:cubicBezTo>
                        <a:pt x="132" y="107"/>
                        <a:pt x="132" y="107"/>
                        <a:pt x="132" y="107"/>
                      </a:cubicBezTo>
                      <a:cubicBezTo>
                        <a:pt x="132" y="107"/>
                        <a:pt x="132" y="107"/>
                        <a:pt x="133" y="106"/>
                      </a:cubicBezTo>
                      <a:cubicBezTo>
                        <a:pt x="133" y="106"/>
                        <a:pt x="134" y="106"/>
                        <a:pt x="134" y="107"/>
                      </a:cubicBezTo>
                      <a:cubicBezTo>
                        <a:pt x="135" y="107"/>
                        <a:pt x="135" y="107"/>
                        <a:pt x="136" y="107"/>
                      </a:cubicBezTo>
                      <a:cubicBezTo>
                        <a:pt x="136" y="107"/>
                        <a:pt x="136" y="108"/>
                        <a:pt x="136" y="108"/>
                      </a:cubicBezTo>
                      <a:cubicBezTo>
                        <a:pt x="137" y="108"/>
                        <a:pt x="137" y="109"/>
                        <a:pt x="137" y="109"/>
                      </a:cubicBezTo>
                      <a:cubicBezTo>
                        <a:pt x="137" y="109"/>
                        <a:pt x="137" y="110"/>
                        <a:pt x="137" y="110"/>
                      </a:cubicBezTo>
                      <a:cubicBezTo>
                        <a:pt x="137" y="110"/>
                        <a:pt x="137" y="110"/>
                        <a:pt x="137" y="110"/>
                      </a:cubicBezTo>
                      <a:cubicBezTo>
                        <a:pt x="138" y="110"/>
                        <a:pt x="138" y="111"/>
                        <a:pt x="138" y="111"/>
                      </a:cubicBezTo>
                      <a:cubicBezTo>
                        <a:pt x="138" y="111"/>
                        <a:pt x="138" y="111"/>
                        <a:pt x="138" y="111"/>
                      </a:cubicBezTo>
                      <a:cubicBezTo>
                        <a:pt x="138" y="112"/>
                        <a:pt x="138" y="112"/>
                        <a:pt x="138" y="112"/>
                      </a:cubicBezTo>
                      <a:cubicBezTo>
                        <a:pt x="138" y="113"/>
                        <a:pt x="139" y="113"/>
                        <a:pt x="139" y="113"/>
                      </a:cubicBezTo>
                      <a:cubicBezTo>
                        <a:pt x="139" y="113"/>
                        <a:pt x="139" y="113"/>
                        <a:pt x="140" y="113"/>
                      </a:cubicBezTo>
                      <a:cubicBezTo>
                        <a:pt x="140" y="113"/>
                        <a:pt x="140" y="113"/>
                        <a:pt x="141" y="113"/>
                      </a:cubicBezTo>
                      <a:cubicBezTo>
                        <a:pt x="141" y="112"/>
                        <a:pt x="141" y="111"/>
                        <a:pt x="142" y="110"/>
                      </a:cubicBezTo>
                      <a:cubicBezTo>
                        <a:pt x="142" y="109"/>
                        <a:pt x="142" y="108"/>
                        <a:pt x="142" y="107"/>
                      </a:cubicBezTo>
                      <a:cubicBezTo>
                        <a:pt x="142" y="106"/>
                        <a:pt x="143" y="105"/>
                        <a:pt x="143" y="104"/>
                      </a:cubicBezTo>
                      <a:cubicBezTo>
                        <a:pt x="143" y="103"/>
                        <a:pt x="143" y="103"/>
                        <a:pt x="143" y="102"/>
                      </a:cubicBezTo>
                      <a:cubicBezTo>
                        <a:pt x="143" y="102"/>
                        <a:pt x="143" y="101"/>
                        <a:pt x="143" y="101"/>
                      </a:cubicBezTo>
                      <a:cubicBezTo>
                        <a:pt x="143" y="100"/>
                        <a:pt x="143" y="100"/>
                        <a:pt x="142" y="99"/>
                      </a:cubicBezTo>
                      <a:close/>
                    </a:path>
                  </a:pathLst>
                </a:custGeom>
                <a:pattFill prst="wdUpDiag">
                  <a:fgClr>
                    <a:schemeClr val="accent3"/>
                  </a:fgClr>
                  <a:bgClr>
                    <a:schemeClr val="accent4"/>
                  </a:bgClr>
                </a:patt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22" name="Freeform 199">
                <a:extLst>
                  <a:ext uri="{FF2B5EF4-FFF2-40B4-BE49-F238E27FC236}">
                    <a16:creationId xmlns:a16="http://schemas.microsoft.com/office/drawing/2014/main" id="{8709F0AD-4741-99FF-3E0E-63448871A9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62909" y="4719154"/>
                <a:ext cx="534521" cy="298838"/>
              </a:xfrm>
              <a:custGeom>
                <a:avLst/>
                <a:gdLst>
                  <a:gd name="T0" fmla="*/ 126 w 132"/>
                  <a:gd name="T1" fmla="*/ 8 h 74"/>
                  <a:gd name="T2" fmla="*/ 111 w 132"/>
                  <a:gd name="T3" fmla="*/ 6 h 74"/>
                  <a:gd name="T4" fmla="*/ 91 w 132"/>
                  <a:gd name="T5" fmla="*/ 7 h 74"/>
                  <a:gd name="T6" fmla="*/ 78 w 132"/>
                  <a:gd name="T7" fmla="*/ 17 h 74"/>
                  <a:gd name="T8" fmla="*/ 74 w 132"/>
                  <a:gd name="T9" fmla="*/ 16 h 74"/>
                  <a:gd name="T10" fmla="*/ 66 w 132"/>
                  <a:gd name="T11" fmla="*/ 26 h 74"/>
                  <a:gd name="T12" fmla="*/ 64 w 132"/>
                  <a:gd name="T13" fmla="*/ 28 h 74"/>
                  <a:gd name="T14" fmla="*/ 60 w 132"/>
                  <a:gd name="T15" fmla="*/ 32 h 74"/>
                  <a:gd name="T16" fmla="*/ 56 w 132"/>
                  <a:gd name="T17" fmla="*/ 36 h 74"/>
                  <a:gd name="T18" fmla="*/ 54 w 132"/>
                  <a:gd name="T19" fmla="*/ 38 h 74"/>
                  <a:gd name="T20" fmla="*/ 51 w 132"/>
                  <a:gd name="T21" fmla="*/ 39 h 74"/>
                  <a:gd name="T22" fmla="*/ 50 w 132"/>
                  <a:gd name="T23" fmla="*/ 42 h 74"/>
                  <a:gd name="T24" fmla="*/ 51 w 132"/>
                  <a:gd name="T25" fmla="*/ 45 h 74"/>
                  <a:gd name="T26" fmla="*/ 54 w 132"/>
                  <a:gd name="T27" fmla="*/ 46 h 74"/>
                  <a:gd name="T28" fmla="*/ 53 w 132"/>
                  <a:gd name="T29" fmla="*/ 50 h 74"/>
                  <a:gd name="T30" fmla="*/ 54 w 132"/>
                  <a:gd name="T31" fmla="*/ 53 h 74"/>
                  <a:gd name="T32" fmla="*/ 54 w 132"/>
                  <a:gd name="T33" fmla="*/ 57 h 74"/>
                  <a:gd name="T34" fmla="*/ 52 w 132"/>
                  <a:gd name="T35" fmla="*/ 57 h 74"/>
                  <a:gd name="T36" fmla="*/ 50 w 132"/>
                  <a:gd name="T37" fmla="*/ 55 h 74"/>
                  <a:gd name="T38" fmla="*/ 49 w 132"/>
                  <a:gd name="T39" fmla="*/ 52 h 74"/>
                  <a:gd name="T40" fmla="*/ 48 w 132"/>
                  <a:gd name="T41" fmla="*/ 53 h 74"/>
                  <a:gd name="T42" fmla="*/ 45 w 132"/>
                  <a:gd name="T43" fmla="*/ 54 h 74"/>
                  <a:gd name="T44" fmla="*/ 43 w 132"/>
                  <a:gd name="T45" fmla="*/ 52 h 74"/>
                  <a:gd name="T46" fmla="*/ 40 w 132"/>
                  <a:gd name="T47" fmla="*/ 52 h 74"/>
                  <a:gd name="T48" fmla="*/ 38 w 132"/>
                  <a:gd name="T49" fmla="*/ 54 h 74"/>
                  <a:gd name="T50" fmla="*/ 32 w 132"/>
                  <a:gd name="T51" fmla="*/ 54 h 74"/>
                  <a:gd name="T52" fmla="*/ 28 w 132"/>
                  <a:gd name="T53" fmla="*/ 57 h 74"/>
                  <a:gd name="T54" fmla="*/ 24 w 132"/>
                  <a:gd name="T55" fmla="*/ 59 h 74"/>
                  <a:gd name="T56" fmla="*/ 21 w 132"/>
                  <a:gd name="T57" fmla="*/ 59 h 74"/>
                  <a:gd name="T58" fmla="*/ 18 w 132"/>
                  <a:gd name="T59" fmla="*/ 59 h 74"/>
                  <a:gd name="T60" fmla="*/ 17 w 132"/>
                  <a:gd name="T61" fmla="*/ 57 h 74"/>
                  <a:gd name="T62" fmla="*/ 13 w 132"/>
                  <a:gd name="T63" fmla="*/ 55 h 74"/>
                  <a:gd name="T64" fmla="*/ 11 w 132"/>
                  <a:gd name="T65" fmla="*/ 55 h 74"/>
                  <a:gd name="T66" fmla="*/ 9 w 132"/>
                  <a:gd name="T67" fmla="*/ 54 h 74"/>
                  <a:gd name="T68" fmla="*/ 8 w 132"/>
                  <a:gd name="T69" fmla="*/ 57 h 74"/>
                  <a:gd name="T70" fmla="*/ 8 w 132"/>
                  <a:gd name="T71" fmla="*/ 61 h 74"/>
                  <a:gd name="T72" fmla="*/ 5 w 132"/>
                  <a:gd name="T73" fmla="*/ 62 h 74"/>
                  <a:gd name="T74" fmla="*/ 5 w 132"/>
                  <a:gd name="T75" fmla="*/ 60 h 74"/>
                  <a:gd name="T76" fmla="*/ 3 w 132"/>
                  <a:gd name="T77" fmla="*/ 58 h 74"/>
                  <a:gd name="T78" fmla="*/ 2 w 132"/>
                  <a:gd name="T79" fmla="*/ 60 h 74"/>
                  <a:gd name="T80" fmla="*/ 11 w 132"/>
                  <a:gd name="T81" fmla="*/ 72 h 74"/>
                  <a:gd name="T82" fmla="*/ 19 w 132"/>
                  <a:gd name="T83" fmla="*/ 71 h 74"/>
                  <a:gd name="T84" fmla="*/ 42 w 132"/>
                  <a:gd name="T85" fmla="*/ 65 h 74"/>
                  <a:gd name="T86" fmla="*/ 68 w 132"/>
                  <a:gd name="T87" fmla="*/ 71 h 74"/>
                  <a:gd name="T88" fmla="*/ 78 w 132"/>
                  <a:gd name="T89" fmla="*/ 65 h 74"/>
                  <a:gd name="T90" fmla="*/ 101 w 132"/>
                  <a:gd name="T91" fmla="*/ 61 h 74"/>
                  <a:gd name="T92" fmla="*/ 114 w 132"/>
                  <a:gd name="T93" fmla="*/ 59 h 74"/>
                  <a:gd name="T94" fmla="*/ 117 w 132"/>
                  <a:gd name="T95" fmla="*/ 55 h 74"/>
                  <a:gd name="T96" fmla="*/ 124 w 132"/>
                  <a:gd name="T97" fmla="*/ 39 h 74"/>
                  <a:gd name="T98" fmla="*/ 130 w 132"/>
                  <a:gd name="T99" fmla="*/ 33 h 74"/>
                  <a:gd name="T100" fmla="*/ 128 w 132"/>
                  <a:gd name="T101" fmla="*/ 15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2" h="74">
                    <a:moveTo>
                      <a:pt x="128" y="15"/>
                    </a:moveTo>
                    <a:cubicBezTo>
                      <a:pt x="129" y="13"/>
                      <a:pt x="129" y="9"/>
                      <a:pt x="129" y="9"/>
                    </a:cubicBezTo>
                    <a:cubicBezTo>
                      <a:pt x="128" y="9"/>
                      <a:pt x="128" y="9"/>
                      <a:pt x="127" y="9"/>
                    </a:cubicBezTo>
                    <a:cubicBezTo>
                      <a:pt x="127" y="9"/>
                      <a:pt x="127" y="8"/>
                      <a:pt x="126" y="8"/>
                    </a:cubicBezTo>
                    <a:cubicBezTo>
                      <a:pt x="126" y="7"/>
                      <a:pt x="126" y="7"/>
                      <a:pt x="125" y="7"/>
                    </a:cubicBezTo>
                    <a:cubicBezTo>
                      <a:pt x="125" y="7"/>
                      <a:pt x="125" y="7"/>
                      <a:pt x="125" y="6"/>
                    </a:cubicBezTo>
                    <a:cubicBezTo>
                      <a:pt x="123" y="5"/>
                      <a:pt x="121" y="6"/>
                      <a:pt x="119" y="7"/>
                    </a:cubicBezTo>
                    <a:cubicBezTo>
                      <a:pt x="117" y="9"/>
                      <a:pt x="113" y="8"/>
                      <a:pt x="111" y="6"/>
                    </a:cubicBezTo>
                    <a:cubicBezTo>
                      <a:pt x="108" y="4"/>
                      <a:pt x="104" y="3"/>
                      <a:pt x="102" y="3"/>
                    </a:cubicBezTo>
                    <a:cubicBezTo>
                      <a:pt x="101" y="3"/>
                      <a:pt x="99" y="3"/>
                      <a:pt x="97" y="3"/>
                    </a:cubicBezTo>
                    <a:cubicBezTo>
                      <a:pt x="95" y="3"/>
                      <a:pt x="95" y="0"/>
                      <a:pt x="93" y="2"/>
                    </a:cubicBezTo>
                    <a:cubicBezTo>
                      <a:pt x="92" y="5"/>
                      <a:pt x="93" y="6"/>
                      <a:pt x="91" y="7"/>
                    </a:cubicBezTo>
                    <a:cubicBezTo>
                      <a:pt x="90" y="8"/>
                      <a:pt x="88" y="9"/>
                      <a:pt x="88" y="10"/>
                    </a:cubicBezTo>
                    <a:cubicBezTo>
                      <a:pt x="87" y="11"/>
                      <a:pt x="86" y="11"/>
                      <a:pt x="84" y="10"/>
                    </a:cubicBezTo>
                    <a:cubicBezTo>
                      <a:pt x="82" y="10"/>
                      <a:pt x="80" y="8"/>
                      <a:pt x="79" y="11"/>
                    </a:cubicBezTo>
                    <a:cubicBezTo>
                      <a:pt x="79" y="13"/>
                      <a:pt x="79" y="15"/>
                      <a:pt x="78" y="17"/>
                    </a:cubicBezTo>
                    <a:cubicBezTo>
                      <a:pt x="78" y="17"/>
                      <a:pt x="77" y="15"/>
                      <a:pt x="76" y="14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5" y="14"/>
                      <a:pt x="75" y="14"/>
                      <a:pt x="75" y="14"/>
                    </a:cubicBezTo>
                    <a:cubicBezTo>
                      <a:pt x="75" y="14"/>
                      <a:pt x="75" y="15"/>
                      <a:pt x="74" y="16"/>
                    </a:cubicBezTo>
                    <a:cubicBezTo>
                      <a:pt x="74" y="16"/>
                      <a:pt x="74" y="18"/>
                      <a:pt x="73" y="20"/>
                    </a:cubicBezTo>
                    <a:cubicBezTo>
                      <a:pt x="71" y="22"/>
                      <a:pt x="71" y="19"/>
                      <a:pt x="69" y="20"/>
                    </a:cubicBezTo>
                    <a:cubicBezTo>
                      <a:pt x="68" y="21"/>
                      <a:pt x="68" y="24"/>
                      <a:pt x="68" y="26"/>
                    </a:cubicBezTo>
                    <a:cubicBezTo>
                      <a:pt x="68" y="26"/>
                      <a:pt x="67" y="26"/>
                      <a:pt x="66" y="26"/>
                    </a:cubicBezTo>
                    <a:cubicBezTo>
                      <a:pt x="66" y="26"/>
                      <a:pt x="66" y="27"/>
                      <a:pt x="65" y="27"/>
                    </a:cubicBezTo>
                    <a:cubicBezTo>
                      <a:pt x="65" y="27"/>
                      <a:pt x="65" y="27"/>
                      <a:pt x="65" y="27"/>
                    </a:cubicBezTo>
                    <a:cubicBezTo>
                      <a:pt x="65" y="28"/>
                      <a:pt x="65" y="28"/>
                      <a:pt x="65" y="28"/>
                    </a:cubicBezTo>
                    <a:cubicBezTo>
                      <a:pt x="64" y="28"/>
                      <a:pt x="64" y="28"/>
                      <a:pt x="64" y="28"/>
                    </a:cubicBezTo>
                    <a:cubicBezTo>
                      <a:pt x="63" y="29"/>
                      <a:pt x="62" y="29"/>
                      <a:pt x="61" y="29"/>
                    </a:cubicBezTo>
                    <a:cubicBezTo>
                      <a:pt x="61" y="29"/>
                      <a:pt x="61" y="29"/>
                      <a:pt x="61" y="29"/>
                    </a:cubicBezTo>
                    <a:cubicBezTo>
                      <a:pt x="61" y="29"/>
                      <a:pt x="61" y="29"/>
                      <a:pt x="61" y="30"/>
                    </a:cubicBezTo>
                    <a:cubicBezTo>
                      <a:pt x="60" y="30"/>
                      <a:pt x="60" y="31"/>
                      <a:pt x="60" y="32"/>
                    </a:cubicBezTo>
                    <a:cubicBezTo>
                      <a:pt x="60" y="32"/>
                      <a:pt x="60" y="32"/>
                      <a:pt x="60" y="33"/>
                    </a:cubicBezTo>
                    <a:cubicBezTo>
                      <a:pt x="60" y="33"/>
                      <a:pt x="59" y="34"/>
                      <a:pt x="59" y="34"/>
                    </a:cubicBezTo>
                    <a:cubicBezTo>
                      <a:pt x="59" y="35"/>
                      <a:pt x="58" y="35"/>
                      <a:pt x="58" y="35"/>
                    </a:cubicBezTo>
                    <a:cubicBezTo>
                      <a:pt x="57" y="36"/>
                      <a:pt x="57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4" y="37"/>
                      <a:pt x="54" y="37"/>
                      <a:pt x="54" y="37"/>
                    </a:cubicBezTo>
                    <a:cubicBezTo>
                      <a:pt x="54" y="37"/>
                      <a:pt x="54" y="37"/>
                      <a:pt x="54" y="38"/>
                    </a:cubicBezTo>
                    <a:cubicBezTo>
                      <a:pt x="53" y="38"/>
                      <a:pt x="53" y="38"/>
                      <a:pt x="53" y="38"/>
                    </a:cubicBezTo>
                    <a:cubicBezTo>
                      <a:pt x="53" y="39"/>
                      <a:pt x="53" y="39"/>
                      <a:pt x="53" y="39"/>
                    </a:cubicBezTo>
                    <a:cubicBezTo>
                      <a:pt x="53" y="39"/>
                      <a:pt x="52" y="39"/>
                      <a:pt x="52" y="39"/>
                    </a:cubicBezTo>
                    <a:cubicBezTo>
                      <a:pt x="52" y="39"/>
                      <a:pt x="52" y="39"/>
                      <a:pt x="51" y="39"/>
                    </a:cubicBezTo>
                    <a:cubicBezTo>
                      <a:pt x="51" y="39"/>
                      <a:pt x="51" y="39"/>
                      <a:pt x="51" y="40"/>
                    </a:cubicBezTo>
                    <a:cubicBezTo>
                      <a:pt x="50" y="40"/>
                      <a:pt x="50" y="40"/>
                      <a:pt x="50" y="41"/>
                    </a:cubicBezTo>
                    <a:cubicBezTo>
                      <a:pt x="50" y="41"/>
                      <a:pt x="50" y="41"/>
                      <a:pt x="49" y="42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50" y="43"/>
                      <a:pt x="50" y="43"/>
                      <a:pt x="50" y="43"/>
                    </a:cubicBezTo>
                    <a:cubicBezTo>
                      <a:pt x="50" y="43"/>
                      <a:pt x="50" y="43"/>
                      <a:pt x="51" y="44"/>
                    </a:cubicBezTo>
                    <a:cubicBezTo>
                      <a:pt x="51" y="44"/>
                      <a:pt x="51" y="44"/>
                      <a:pt x="51" y="44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1" y="45"/>
                      <a:pt x="51" y="45"/>
                      <a:pt x="52" y="45"/>
                    </a:cubicBezTo>
                    <a:cubicBezTo>
                      <a:pt x="52" y="45"/>
                      <a:pt x="52" y="45"/>
                      <a:pt x="53" y="45"/>
                    </a:cubicBezTo>
                    <a:cubicBezTo>
                      <a:pt x="53" y="45"/>
                      <a:pt x="53" y="46"/>
                      <a:pt x="53" y="46"/>
                    </a:cubicBezTo>
                    <a:cubicBezTo>
                      <a:pt x="54" y="46"/>
                      <a:pt x="54" y="46"/>
                      <a:pt x="54" y="46"/>
                    </a:cubicBezTo>
                    <a:cubicBezTo>
                      <a:pt x="54" y="47"/>
                      <a:pt x="54" y="47"/>
                      <a:pt x="54" y="48"/>
                    </a:cubicBezTo>
                    <a:cubicBezTo>
                      <a:pt x="54" y="48"/>
                      <a:pt x="54" y="48"/>
                      <a:pt x="54" y="48"/>
                    </a:cubicBezTo>
                    <a:cubicBezTo>
                      <a:pt x="54" y="49"/>
                      <a:pt x="53" y="49"/>
                      <a:pt x="53" y="49"/>
                    </a:cubicBezTo>
                    <a:cubicBezTo>
                      <a:pt x="53" y="50"/>
                      <a:pt x="53" y="50"/>
                      <a:pt x="53" y="50"/>
                    </a:cubicBezTo>
                    <a:cubicBezTo>
                      <a:pt x="52" y="51"/>
                      <a:pt x="52" y="51"/>
                      <a:pt x="52" y="51"/>
                    </a:cubicBezTo>
                    <a:cubicBezTo>
                      <a:pt x="52" y="51"/>
                      <a:pt x="52" y="51"/>
                      <a:pt x="52" y="52"/>
                    </a:cubicBezTo>
                    <a:cubicBezTo>
                      <a:pt x="53" y="52"/>
                      <a:pt x="53" y="52"/>
                      <a:pt x="53" y="52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4" y="53"/>
                      <a:pt x="55" y="53"/>
                      <a:pt x="55" y="53"/>
                    </a:cubicBezTo>
                    <a:cubicBezTo>
                      <a:pt x="55" y="54"/>
                      <a:pt x="55" y="54"/>
                      <a:pt x="55" y="54"/>
                    </a:cubicBezTo>
                    <a:cubicBezTo>
                      <a:pt x="55" y="55"/>
                      <a:pt x="55" y="55"/>
                      <a:pt x="55" y="56"/>
                    </a:cubicBezTo>
                    <a:cubicBezTo>
                      <a:pt x="55" y="56"/>
                      <a:pt x="55" y="57"/>
                      <a:pt x="54" y="57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3" y="58"/>
                      <a:pt x="53" y="58"/>
                      <a:pt x="53" y="58"/>
                    </a:cubicBezTo>
                    <a:cubicBezTo>
                      <a:pt x="53" y="58"/>
                      <a:pt x="52" y="58"/>
                      <a:pt x="52" y="57"/>
                    </a:cubicBezTo>
                    <a:cubicBezTo>
                      <a:pt x="52" y="57"/>
                      <a:pt x="52" y="57"/>
                      <a:pt x="52" y="57"/>
                    </a:cubicBezTo>
                    <a:cubicBezTo>
                      <a:pt x="51" y="56"/>
                      <a:pt x="51" y="56"/>
                      <a:pt x="51" y="56"/>
                    </a:cubicBezTo>
                    <a:cubicBezTo>
                      <a:pt x="51" y="56"/>
                      <a:pt x="51" y="56"/>
                      <a:pt x="50" y="56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0" y="55"/>
                      <a:pt x="50" y="55"/>
                      <a:pt x="50" y="55"/>
                    </a:cubicBezTo>
                    <a:cubicBezTo>
                      <a:pt x="50" y="54"/>
                      <a:pt x="50" y="54"/>
                      <a:pt x="50" y="54"/>
                    </a:cubicBezTo>
                    <a:cubicBezTo>
                      <a:pt x="50" y="54"/>
                      <a:pt x="50" y="54"/>
                      <a:pt x="50" y="53"/>
                    </a:cubicBezTo>
                    <a:cubicBezTo>
                      <a:pt x="50" y="53"/>
                      <a:pt x="50" y="53"/>
                      <a:pt x="50" y="53"/>
                    </a:cubicBezTo>
                    <a:cubicBezTo>
                      <a:pt x="50" y="53"/>
                      <a:pt x="50" y="53"/>
                      <a:pt x="49" y="52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9" y="53"/>
                      <a:pt x="49" y="53"/>
                      <a:pt x="49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7" y="53"/>
                      <a:pt x="47" y="53"/>
                      <a:pt x="47" y="53"/>
                    </a:cubicBezTo>
                    <a:cubicBezTo>
                      <a:pt x="47" y="53"/>
                      <a:pt x="46" y="53"/>
                      <a:pt x="46" y="53"/>
                    </a:cubicBezTo>
                    <a:cubicBezTo>
                      <a:pt x="46" y="53"/>
                      <a:pt x="46" y="54"/>
                      <a:pt x="46" y="54"/>
                    </a:cubicBezTo>
                    <a:cubicBezTo>
                      <a:pt x="46" y="54"/>
                      <a:pt x="46" y="54"/>
                      <a:pt x="45" y="54"/>
                    </a:cubicBezTo>
                    <a:cubicBezTo>
                      <a:pt x="45" y="54"/>
                      <a:pt x="45" y="54"/>
                      <a:pt x="45" y="54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4" y="53"/>
                      <a:pt x="44" y="53"/>
                      <a:pt x="43" y="53"/>
                    </a:cubicBezTo>
                    <a:cubicBezTo>
                      <a:pt x="43" y="53"/>
                      <a:pt x="43" y="53"/>
                      <a:pt x="43" y="52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2" y="52"/>
                      <a:pt x="42" y="51"/>
                      <a:pt x="42" y="51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1"/>
                      <a:pt x="40" y="51"/>
                      <a:pt x="40" y="52"/>
                    </a:cubicBezTo>
                    <a:cubicBezTo>
                      <a:pt x="40" y="52"/>
                      <a:pt x="40" y="52"/>
                      <a:pt x="40" y="53"/>
                    </a:cubicBezTo>
                    <a:cubicBezTo>
                      <a:pt x="40" y="53"/>
                      <a:pt x="39" y="53"/>
                      <a:pt x="39" y="53"/>
                    </a:cubicBezTo>
                    <a:cubicBezTo>
                      <a:pt x="39" y="54"/>
                      <a:pt x="39" y="54"/>
                      <a:pt x="39" y="54"/>
                    </a:cubicBezTo>
                    <a:cubicBezTo>
                      <a:pt x="38" y="54"/>
                      <a:pt x="38" y="54"/>
                      <a:pt x="38" y="54"/>
                    </a:cubicBezTo>
                    <a:cubicBezTo>
                      <a:pt x="37" y="54"/>
                      <a:pt x="37" y="54"/>
                      <a:pt x="36" y="54"/>
                    </a:cubicBezTo>
                    <a:cubicBezTo>
                      <a:pt x="36" y="54"/>
                      <a:pt x="35" y="54"/>
                      <a:pt x="35" y="54"/>
                    </a:cubicBezTo>
                    <a:cubicBezTo>
                      <a:pt x="34" y="54"/>
                      <a:pt x="34" y="54"/>
                      <a:pt x="33" y="54"/>
                    </a:cubicBezTo>
                    <a:cubicBezTo>
                      <a:pt x="33" y="54"/>
                      <a:pt x="32" y="54"/>
                      <a:pt x="32" y="54"/>
                    </a:cubicBezTo>
                    <a:cubicBezTo>
                      <a:pt x="32" y="55"/>
                      <a:pt x="31" y="55"/>
                      <a:pt x="31" y="55"/>
                    </a:cubicBezTo>
                    <a:cubicBezTo>
                      <a:pt x="31" y="56"/>
                      <a:pt x="30" y="56"/>
                      <a:pt x="30" y="56"/>
                    </a:cubicBezTo>
                    <a:cubicBezTo>
                      <a:pt x="30" y="57"/>
                      <a:pt x="30" y="57"/>
                      <a:pt x="29" y="57"/>
                    </a:cubicBezTo>
                    <a:cubicBezTo>
                      <a:pt x="29" y="57"/>
                      <a:pt x="28" y="57"/>
                      <a:pt x="28" y="57"/>
                    </a:cubicBezTo>
                    <a:cubicBezTo>
                      <a:pt x="27" y="57"/>
                      <a:pt x="27" y="57"/>
                      <a:pt x="27" y="57"/>
                    </a:cubicBezTo>
                    <a:cubicBezTo>
                      <a:pt x="26" y="57"/>
                      <a:pt x="26" y="57"/>
                      <a:pt x="26" y="57"/>
                    </a:cubicBezTo>
                    <a:cubicBezTo>
                      <a:pt x="25" y="58"/>
                      <a:pt x="25" y="58"/>
                      <a:pt x="24" y="58"/>
                    </a:cubicBezTo>
                    <a:cubicBezTo>
                      <a:pt x="24" y="58"/>
                      <a:pt x="24" y="58"/>
                      <a:pt x="24" y="59"/>
                    </a:cubicBezTo>
                    <a:cubicBezTo>
                      <a:pt x="23" y="59"/>
                      <a:pt x="23" y="59"/>
                      <a:pt x="23" y="59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22" y="59"/>
                      <a:pt x="22" y="59"/>
                      <a:pt x="21" y="59"/>
                    </a:cubicBezTo>
                    <a:cubicBezTo>
                      <a:pt x="21" y="59"/>
                      <a:pt x="21" y="59"/>
                      <a:pt x="21" y="59"/>
                    </a:cubicBezTo>
                    <a:cubicBezTo>
                      <a:pt x="20" y="59"/>
                      <a:pt x="20" y="59"/>
                      <a:pt x="20" y="60"/>
                    </a:cubicBezTo>
                    <a:cubicBezTo>
                      <a:pt x="20" y="60"/>
                      <a:pt x="20" y="60"/>
                      <a:pt x="19" y="60"/>
                    </a:cubicBezTo>
                    <a:cubicBezTo>
                      <a:pt x="19" y="60"/>
                      <a:pt x="19" y="60"/>
                      <a:pt x="18" y="60"/>
                    </a:cubicBezTo>
                    <a:cubicBezTo>
                      <a:pt x="18" y="59"/>
                      <a:pt x="18" y="59"/>
                      <a:pt x="18" y="59"/>
                    </a:cubicBezTo>
                    <a:cubicBezTo>
                      <a:pt x="18" y="59"/>
                      <a:pt x="18" y="58"/>
                      <a:pt x="18" y="58"/>
                    </a:cubicBezTo>
                    <a:cubicBezTo>
                      <a:pt x="18" y="58"/>
                      <a:pt x="18" y="58"/>
                      <a:pt x="18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6" y="56"/>
                      <a:pt x="16" y="56"/>
                      <a:pt x="16" y="56"/>
                    </a:cubicBezTo>
                    <a:cubicBezTo>
                      <a:pt x="16" y="56"/>
                      <a:pt x="15" y="56"/>
                      <a:pt x="15" y="56"/>
                    </a:cubicBezTo>
                    <a:cubicBezTo>
                      <a:pt x="15" y="56"/>
                      <a:pt x="15" y="55"/>
                      <a:pt x="14" y="55"/>
                    </a:cubicBezTo>
                    <a:cubicBezTo>
                      <a:pt x="14" y="55"/>
                      <a:pt x="14" y="55"/>
                      <a:pt x="13" y="55"/>
                    </a:cubicBezTo>
                    <a:cubicBezTo>
                      <a:pt x="13" y="55"/>
                      <a:pt x="13" y="55"/>
                      <a:pt x="12" y="55"/>
                    </a:cubicBezTo>
                    <a:cubicBezTo>
                      <a:pt x="12" y="56"/>
                      <a:pt x="12" y="56"/>
                      <a:pt x="12" y="56"/>
                    </a:cubicBezTo>
                    <a:cubicBezTo>
                      <a:pt x="12" y="56"/>
                      <a:pt x="11" y="56"/>
                      <a:pt x="11" y="56"/>
                    </a:cubicBezTo>
                    <a:cubicBezTo>
                      <a:pt x="11" y="56"/>
                      <a:pt x="11" y="56"/>
                      <a:pt x="11" y="55"/>
                    </a:cubicBezTo>
                    <a:cubicBezTo>
                      <a:pt x="10" y="55"/>
                      <a:pt x="10" y="55"/>
                      <a:pt x="10" y="54"/>
                    </a:cubicBezTo>
                    <a:cubicBezTo>
                      <a:pt x="10" y="54"/>
                      <a:pt x="10" y="54"/>
                      <a:pt x="10" y="53"/>
                    </a:cubicBezTo>
                    <a:cubicBezTo>
                      <a:pt x="10" y="53"/>
                      <a:pt x="10" y="53"/>
                      <a:pt x="9" y="53"/>
                    </a:cubicBezTo>
                    <a:cubicBezTo>
                      <a:pt x="9" y="54"/>
                      <a:pt x="9" y="54"/>
                      <a:pt x="9" y="54"/>
                    </a:cubicBezTo>
                    <a:cubicBezTo>
                      <a:pt x="9" y="54"/>
                      <a:pt x="9" y="54"/>
                      <a:pt x="9" y="55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8" y="57"/>
                      <a:pt x="8" y="57"/>
                      <a:pt x="8" y="57"/>
                    </a:cubicBezTo>
                    <a:cubicBezTo>
                      <a:pt x="8" y="58"/>
                      <a:pt x="8" y="58"/>
                      <a:pt x="8" y="59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0"/>
                      <a:pt x="8" y="60"/>
                      <a:pt x="8" y="60"/>
                    </a:cubicBezTo>
                    <a:cubicBezTo>
                      <a:pt x="8" y="60"/>
                      <a:pt x="8" y="60"/>
                      <a:pt x="8" y="61"/>
                    </a:cubicBezTo>
                    <a:cubicBezTo>
                      <a:pt x="7" y="61"/>
                      <a:pt x="7" y="61"/>
                      <a:pt x="7" y="62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6" y="62"/>
                      <a:pt x="6" y="62"/>
                      <a:pt x="6" y="62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62"/>
                      <a:pt x="5" y="62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59"/>
                      <a:pt x="5" y="59"/>
                      <a:pt x="5" y="59"/>
                    </a:cubicBezTo>
                    <a:cubicBezTo>
                      <a:pt x="4" y="59"/>
                      <a:pt x="4" y="59"/>
                      <a:pt x="4" y="59"/>
                    </a:cubicBezTo>
                    <a:cubicBezTo>
                      <a:pt x="4" y="59"/>
                      <a:pt x="4" y="59"/>
                      <a:pt x="3" y="59"/>
                    </a:cubicBezTo>
                    <a:cubicBezTo>
                      <a:pt x="3" y="59"/>
                      <a:pt x="3" y="58"/>
                      <a:pt x="3" y="58"/>
                    </a:cubicBezTo>
                    <a:cubicBezTo>
                      <a:pt x="3" y="58"/>
                      <a:pt x="3" y="58"/>
                      <a:pt x="3" y="57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3" y="58"/>
                      <a:pt x="2" y="59"/>
                      <a:pt x="2" y="60"/>
                    </a:cubicBezTo>
                    <a:cubicBezTo>
                      <a:pt x="2" y="62"/>
                      <a:pt x="0" y="66"/>
                      <a:pt x="1" y="67"/>
                    </a:cubicBezTo>
                    <a:cubicBezTo>
                      <a:pt x="3" y="68"/>
                      <a:pt x="5" y="67"/>
                      <a:pt x="7" y="68"/>
                    </a:cubicBezTo>
                    <a:cubicBezTo>
                      <a:pt x="8" y="68"/>
                      <a:pt x="7" y="70"/>
                      <a:pt x="9" y="71"/>
                    </a:cubicBezTo>
                    <a:cubicBezTo>
                      <a:pt x="10" y="72"/>
                      <a:pt x="10" y="70"/>
                      <a:pt x="11" y="72"/>
                    </a:cubicBezTo>
                    <a:cubicBezTo>
                      <a:pt x="11" y="74"/>
                      <a:pt x="13" y="72"/>
                      <a:pt x="15" y="70"/>
                    </a:cubicBezTo>
                    <a:cubicBezTo>
                      <a:pt x="18" y="67"/>
                      <a:pt x="17" y="68"/>
                      <a:pt x="18" y="68"/>
                    </a:cubicBezTo>
                    <a:cubicBezTo>
                      <a:pt x="19" y="69"/>
                      <a:pt x="19" y="71"/>
                      <a:pt x="19" y="71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21" y="71"/>
                      <a:pt x="24" y="72"/>
                      <a:pt x="25" y="73"/>
                    </a:cubicBezTo>
                    <a:cubicBezTo>
                      <a:pt x="26" y="73"/>
                      <a:pt x="28" y="73"/>
                      <a:pt x="29" y="71"/>
                    </a:cubicBezTo>
                    <a:cubicBezTo>
                      <a:pt x="30" y="69"/>
                      <a:pt x="32" y="67"/>
                      <a:pt x="35" y="66"/>
                    </a:cubicBezTo>
                    <a:cubicBezTo>
                      <a:pt x="37" y="65"/>
                      <a:pt x="40" y="67"/>
                      <a:pt x="42" y="65"/>
                    </a:cubicBezTo>
                    <a:cubicBezTo>
                      <a:pt x="44" y="63"/>
                      <a:pt x="48" y="61"/>
                      <a:pt x="47" y="63"/>
                    </a:cubicBezTo>
                    <a:cubicBezTo>
                      <a:pt x="47" y="65"/>
                      <a:pt x="48" y="65"/>
                      <a:pt x="49" y="66"/>
                    </a:cubicBezTo>
                    <a:cubicBezTo>
                      <a:pt x="49" y="68"/>
                      <a:pt x="51" y="71"/>
                      <a:pt x="54" y="71"/>
                    </a:cubicBezTo>
                    <a:cubicBezTo>
                      <a:pt x="57" y="71"/>
                      <a:pt x="65" y="71"/>
                      <a:pt x="68" y="71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6" y="71"/>
                      <a:pt x="64" y="70"/>
                      <a:pt x="66" y="68"/>
                    </a:cubicBezTo>
                    <a:cubicBezTo>
                      <a:pt x="67" y="67"/>
                      <a:pt x="70" y="65"/>
                      <a:pt x="72" y="64"/>
                    </a:cubicBezTo>
                    <a:cubicBezTo>
                      <a:pt x="74" y="64"/>
                      <a:pt x="76" y="64"/>
                      <a:pt x="78" y="65"/>
                    </a:cubicBezTo>
                    <a:cubicBezTo>
                      <a:pt x="80" y="66"/>
                      <a:pt x="84" y="67"/>
                      <a:pt x="86" y="67"/>
                    </a:cubicBezTo>
                    <a:cubicBezTo>
                      <a:pt x="88" y="67"/>
                      <a:pt x="89" y="65"/>
                      <a:pt x="90" y="64"/>
                    </a:cubicBezTo>
                    <a:cubicBezTo>
                      <a:pt x="91" y="63"/>
                      <a:pt x="93" y="62"/>
                      <a:pt x="95" y="61"/>
                    </a:cubicBezTo>
                    <a:cubicBezTo>
                      <a:pt x="96" y="60"/>
                      <a:pt x="100" y="60"/>
                      <a:pt x="101" y="61"/>
                    </a:cubicBezTo>
                    <a:cubicBezTo>
                      <a:pt x="102" y="61"/>
                      <a:pt x="104" y="61"/>
                      <a:pt x="105" y="60"/>
                    </a:cubicBezTo>
                    <a:cubicBezTo>
                      <a:pt x="106" y="59"/>
                      <a:pt x="107" y="58"/>
                      <a:pt x="109" y="58"/>
                    </a:cubicBezTo>
                    <a:cubicBezTo>
                      <a:pt x="110" y="58"/>
                      <a:pt x="112" y="60"/>
                      <a:pt x="114" y="61"/>
                    </a:cubicBezTo>
                    <a:cubicBezTo>
                      <a:pt x="114" y="61"/>
                      <a:pt x="114" y="60"/>
                      <a:pt x="114" y="59"/>
                    </a:cubicBezTo>
                    <a:cubicBezTo>
                      <a:pt x="114" y="59"/>
                      <a:pt x="113" y="58"/>
                      <a:pt x="113" y="58"/>
                    </a:cubicBezTo>
                    <a:cubicBezTo>
                      <a:pt x="113" y="57"/>
                      <a:pt x="113" y="56"/>
                      <a:pt x="113" y="55"/>
                    </a:cubicBezTo>
                    <a:cubicBezTo>
                      <a:pt x="113" y="54"/>
                      <a:pt x="116" y="54"/>
                      <a:pt x="116" y="54"/>
                    </a:cubicBezTo>
                    <a:cubicBezTo>
                      <a:pt x="116" y="54"/>
                      <a:pt x="116" y="54"/>
                      <a:pt x="117" y="55"/>
                    </a:cubicBezTo>
                    <a:cubicBezTo>
                      <a:pt x="117" y="54"/>
                      <a:pt x="118" y="53"/>
                      <a:pt x="119" y="52"/>
                    </a:cubicBezTo>
                    <a:cubicBezTo>
                      <a:pt x="122" y="51"/>
                      <a:pt x="122" y="52"/>
                      <a:pt x="121" y="49"/>
                    </a:cubicBezTo>
                    <a:cubicBezTo>
                      <a:pt x="121" y="46"/>
                      <a:pt x="120" y="45"/>
                      <a:pt x="121" y="43"/>
                    </a:cubicBezTo>
                    <a:cubicBezTo>
                      <a:pt x="121" y="41"/>
                      <a:pt x="123" y="40"/>
                      <a:pt x="124" y="39"/>
                    </a:cubicBezTo>
                    <a:cubicBezTo>
                      <a:pt x="125" y="38"/>
                      <a:pt x="125" y="37"/>
                      <a:pt x="124" y="37"/>
                    </a:cubicBezTo>
                    <a:cubicBezTo>
                      <a:pt x="123" y="36"/>
                      <a:pt x="120" y="36"/>
                      <a:pt x="121" y="34"/>
                    </a:cubicBezTo>
                    <a:cubicBezTo>
                      <a:pt x="121" y="33"/>
                      <a:pt x="124" y="32"/>
                      <a:pt x="125" y="33"/>
                    </a:cubicBezTo>
                    <a:cubicBezTo>
                      <a:pt x="127" y="35"/>
                      <a:pt x="130" y="34"/>
                      <a:pt x="130" y="33"/>
                    </a:cubicBezTo>
                    <a:cubicBezTo>
                      <a:pt x="131" y="32"/>
                      <a:pt x="130" y="30"/>
                      <a:pt x="131" y="29"/>
                    </a:cubicBezTo>
                    <a:cubicBezTo>
                      <a:pt x="132" y="28"/>
                      <a:pt x="132" y="24"/>
                      <a:pt x="132" y="24"/>
                    </a:cubicBezTo>
                    <a:cubicBezTo>
                      <a:pt x="131" y="23"/>
                      <a:pt x="130" y="21"/>
                      <a:pt x="128" y="19"/>
                    </a:cubicBezTo>
                    <a:cubicBezTo>
                      <a:pt x="127" y="17"/>
                      <a:pt x="127" y="17"/>
                      <a:pt x="128" y="15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23" name="Freeform 200">
                <a:extLst>
                  <a:ext uri="{FF2B5EF4-FFF2-40B4-BE49-F238E27FC236}">
                    <a16:creationId xmlns:a16="http://schemas.microsoft.com/office/drawing/2014/main" id="{879ACA42-644C-AB98-CE8B-6C7F5F8E7E2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6319" y="4823901"/>
                <a:ext cx="0" cy="4622"/>
              </a:xfrm>
              <a:custGeom>
                <a:avLst/>
                <a:gdLst>
                  <a:gd name="T0" fmla="*/ 0 h 1"/>
                  <a:gd name="T1" fmla="*/ 1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24" name="Freeform 201">
                <a:extLst>
                  <a:ext uri="{FF2B5EF4-FFF2-40B4-BE49-F238E27FC236}">
                    <a16:creationId xmlns:a16="http://schemas.microsoft.com/office/drawing/2014/main" id="{4A5D823C-1868-0164-19EB-0833ED3223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09374" y="4833144"/>
                <a:ext cx="12323" cy="3081"/>
              </a:xfrm>
              <a:custGeom>
                <a:avLst/>
                <a:gdLst>
                  <a:gd name="T0" fmla="*/ 1 w 3"/>
                  <a:gd name="T1" fmla="*/ 0 h 1"/>
                  <a:gd name="T2" fmla="*/ 0 w 3"/>
                  <a:gd name="T3" fmla="*/ 1 h 1"/>
                  <a:gd name="T4" fmla="*/ 0 w 3"/>
                  <a:gd name="T5" fmla="*/ 1 h 1"/>
                  <a:gd name="T6" fmla="*/ 3 w 3"/>
                  <a:gd name="T7" fmla="*/ 0 h 1"/>
                  <a:gd name="T8" fmla="*/ 2 w 3"/>
                  <a:gd name="T9" fmla="*/ 0 h 1"/>
                  <a:gd name="T10" fmla="*/ 1 w 3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1"/>
                      <a:pt x="3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25" name="Freeform 202">
                <a:extLst>
                  <a:ext uri="{FF2B5EF4-FFF2-40B4-BE49-F238E27FC236}">
                    <a16:creationId xmlns:a16="http://schemas.microsoft.com/office/drawing/2014/main" id="{0558D604-236C-FE6E-FEF2-36705AA404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16950" y="4528144"/>
                <a:ext cx="502172" cy="300379"/>
              </a:xfrm>
              <a:custGeom>
                <a:avLst/>
                <a:gdLst>
                  <a:gd name="T0" fmla="*/ 115 w 124"/>
                  <a:gd name="T1" fmla="*/ 26 h 74"/>
                  <a:gd name="T2" fmla="*/ 99 w 124"/>
                  <a:gd name="T3" fmla="*/ 17 h 74"/>
                  <a:gd name="T4" fmla="*/ 82 w 124"/>
                  <a:gd name="T5" fmla="*/ 16 h 74"/>
                  <a:gd name="T6" fmla="*/ 65 w 124"/>
                  <a:gd name="T7" fmla="*/ 5 h 74"/>
                  <a:gd name="T8" fmla="*/ 53 w 124"/>
                  <a:gd name="T9" fmla="*/ 0 h 74"/>
                  <a:gd name="T10" fmla="*/ 45 w 124"/>
                  <a:gd name="T11" fmla="*/ 0 h 74"/>
                  <a:gd name="T12" fmla="*/ 46 w 124"/>
                  <a:gd name="T13" fmla="*/ 4 h 74"/>
                  <a:gd name="T14" fmla="*/ 45 w 124"/>
                  <a:gd name="T15" fmla="*/ 12 h 74"/>
                  <a:gd name="T16" fmla="*/ 42 w 124"/>
                  <a:gd name="T17" fmla="*/ 15 h 74"/>
                  <a:gd name="T18" fmla="*/ 41 w 124"/>
                  <a:gd name="T19" fmla="*/ 13 h 74"/>
                  <a:gd name="T20" fmla="*/ 40 w 124"/>
                  <a:gd name="T21" fmla="*/ 11 h 74"/>
                  <a:gd name="T22" fmla="*/ 37 w 124"/>
                  <a:gd name="T23" fmla="*/ 9 h 74"/>
                  <a:gd name="T24" fmla="*/ 35 w 124"/>
                  <a:gd name="T25" fmla="*/ 9 h 74"/>
                  <a:gd name="T26" fmla="*/ 36 w 124"/>
                  <a:gd name="T27" fmla="*/ 12 h 74"/>
                  <a:gd name="T28" fmla="*/ 32 w 124"/>
                  <a:gd name="T29" fmla="*/ 15 h 74"/>
                  <a:gd name="T30" fmla="*/ 28 w 124"/>
                  <a:gd name="T31" fmla="*/ 17 h 74"/>
                  <a:gd name="T32" fmla="*/ 23 w 124"/>
                  <a:gd name="T33" fmla="*/ 18 h 74"/>
                  <a:gd name="T34" fmla="*/ 21 w 124"/>
                  <a:gd name="T35" fmla="*/ 20 h 74"/>
                  <a:gd name="T36" fmla="*/ 14 w 124"/>
                  <a:gd name="T37" fmla="*/ 25 h 74"/>
                  <a:gd name="T38" fmla="*/ 9 w 124"/>
                  <a:gd name="T39" fmla="*/ 26 h 74"/>
                  <a:gd name="T40" fmla="*/ 4 w 124"/>
                  <a:gd name="T41" fmla="*/ 31 h 74"/>
                  <a:gd name="T42" fmla="*/ 0 w 124"/>
                  <a:gd name="T43" fmla="*/ 32 h 74"/>
                  <a:gd name="T44" fmla="*/ 4 w 124"/>
                  <a:gd name="T45" fmla="*/ 36 h 74"/>
                  <a:gd name="T46" fmla="*/ 5 w 124"/>
                  <a:gd name="T47" fmla="*/ 41 h 74"/>
                  <a:gd name="T48" fmla="*/ 5 w 124"/>
                  <a:gd name="T49" fmla="*/ 46 h 74"/>
                  <a:gd name="T50" fmla="*/ 8 w 124"/>
                  <a:gd name="T51" fmla="*/ 51 h 74"/>
                  <a:gd name="T52" fmla="*/ 11 w 124"/>
                  <a:gd name="T53" fmla="*/ 55 h 74"/>
                  <a:gd name="T54" fmla="*/ 16 w 124"/>
                  <a:gd name="T55" fmla="*/ 58 h 74"/>
                  <a:gd name="T56" fmla="*/ 18 w 124"/>
                  <a:gd name="T57" fmla="*/ 61 h 74"/>
                  <a:gd name="T58" fmla="*/ 21 w 124"/>
                  <a:gd name="T59" fmla="*/ 63 h 74"/>
                  <a:gd name="T60" fmla="*/ 23 w 124"/>
                  <a:gd name="T61" fmla="*/ 66 h 74"/>
                  <a:gd name="T62" fmla="*/ 27 w 124"/>
                  <a:gd name="T63" fmla="*/ 70 h 74"/>
                  <a:gd name="T64" fmla="*/ 27 w 124"/>
                  <a:gd name="T65" fmla="*/ 74 h 74"/>
                  <a:gd name="T66" fmla="*/ 31 w 124"/>
                  <a:gd name="T67" fmla="*/ 67 h 74"/>
                  <a:gd name="T68" fmla="*/ 37 w 124"/>
                  <a:gd name="T69" fmla="*/ 61 h 74"/>
                  <a:gd name="T70" fmla="*/ 40 w 124"/>
                  <a:gd name="T71" fmla="*/ 63 h 74"/>
                  <a:gd name="T72" fmla="*/ 46 w 124"/>
                  <a:gd name="T73" fmla="*/ 57 h 74"/>
                  <a:gd name="T74" fmla="*/ 55 w 124"/>
                  <a:gd name="T75" fmla="*/ 49 h 74"/>
                  <a:gd name="T76" fmla="*/ 73 w 124"/>
                  <a:gd name="T77" fmla="*/ 53 h 74"/>
                  <a:gd name="T78" fmla="*/ 88 w 124"/>
                  <a:gd name="T79" fmla="*/ 55 h 74"/>
                  <a:gd name="T80" fmla="*/ 95 w 124"/>
                  <a:gd name="T81" fmla="*/ 52 h 74"/>
                  <a:gd name="T82" fmla="*/ 111 w 124"/>
                  <a:gd name="T83" fmla="*/ 42 h 74"/>
                  <a:gd name="T84" fmla="*/ 124 w 124"/>
                  <a:gd name="T85" fmla="*/ 3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4" h="74">
                    <a:moveTo>
                      <a:pt x="121" y="32"/>
                    </a:moveTo>
                    <a:cubicBezTo>
                      <a:pt x="120" y="31"/>
                      <a:pt x="118" y="30"/>
                      <a:pt x="117" y="28"/>
                    </a:cubicBezTo>
                    <a:cubicBezTo>
                      <a:pt x="117" y="26"/>
                      <a:pt x="116" y="27"/>
                      <a:pt x="115" y="26"/>
                    </a:cubicBezTo>
                    <a:cubicBezTo>
                      <a:pt x="113" y="26"/>
                      <a:pt x="111" y="23"/>
                      <a:pt x="109" y="24"/>
                    </a:cubicBezTo>
                    <a:cubicBezTo>
                      <a:pt x="107" y="24"/>
                      <a:pt x="105" y="25"/>
                      <a:pt x="104" y="23"/>
                    </a:cubicBezTo>
                    <a:cubicBezTo>
                      <a:pt x="102" y="22"/>
                      <a:pt x="100" y="16"/>
                      <a:pt x="99" y="17"/>
                    </a:cubicBezTo>
                    <a:cubicBezTo>
                      <a:pt x="98" y="18"/>
                      <a:pt x="95" y="16"/>
                      <a:pt x="93" y="15"/>
                    </a:cubicBezTo>
                    <a:cubicBezTo>
                      <a:pt x="91" y="14"/>
                      <a:pt x="88" y="17"/>
                      <a:pt x="87" y="19"/>
                    </a:cubicBezTo>
                    <a:cubicBezTo>
                      <a:pt x="85" y="21"/>
                      <a:pt x="84" y="18"/>
                      <a:pt x="82" y="16"/>
                    </a:cubicBezTo>
                    <a:cubicBezTo>
                      <a:pt x="80" y="14"/>
                      <a:pt x="79" y="10"/>
                      <a:pt x="78" y="9"/>
                    </a:cubicBezTo>
                    <a:cubicBezTo>
                      <a:pt x="77" y="7"/>
                      <a:pt x="74" y="9"/>
                      <a:pt x="71" y="8"/>
                    </a:cubicBezTo>
                    <a:cubicBezTo>
                      <a:pt x="69" y="7"/>
                      <a:pt x="67" y="6"/>
                      <a:pt x="65" y="5"/>
                    </a:cubicBezTo>
                    <a:cubicBezTo>
                      <a:pt x="62" y="5"/>
                      <a:pt x="60" y="5"/>
                      <a:pt x="59" y="4"/>
                    </a:cubicBezTo>
                    <a:cubicBezTo>
                      <a:pt x="59" y="2"/>
                      <a:pt x="59" y="0"/>
                      <a:pt x="57" y="0"/>
                    </a:cubicBezTo>
                    <a:cubicBezTo>
                      <a:pt x="56" y="1"/>
                      <a:pt x="53" y="0"/>
                      <a:pt x="53" y="0"/>
                    </a:cubicBezTo>
                    <a:cubicBezTo>
                      <a:pt x="53" y="0"/>
                      <a:pt x="53" y="3"/>
                      <a:pt x="51" y="3"/>
                    </a:cubicBezTo>
                    <a:cubicBezTo>
                      <a:pt x="50" y="3"/>
                      <a:pt x="49" y="5"/>
                      <a:pt x="48" y="4"/>
                    </a:cubicBezTo>
                    <a:cubicBezTo>
                      <a:pt x="47" y="2"/>
                      <a:pt x="46" y="0"/>
                      <a:pt x="45" y="0"/>
                    </a:cubicBezTo>
                    <a:cubicBezTo>
                      <a:pt x="45" y="0"/>
                      <a:pt x="45" y="1"/>
                      <a:pt x="45" y="1"/>
                    </a:cubicBezTo>
                    <a:cubicBezTo>
                      <a:pt x="46" y="2"/>
                      <a:pt x="46" y="2"/>
                      <a:pt x="46" y="3"/>
                    </a:cubicBezTo>
                    <a:cubicBezTo>
                      <a:pt x="46" y="3"/>
                      <a:pt x="46" y="4"/>
                      <a:pt x="46" y="4"/>
                    </a:cubicBezTo>
                    <a:cubicBezTo>
                      <a:pt x="46" y="5"/>
                      <a:pt x="46" y="5"/>
                      <a:pt x="46" y="6"/>
                    </a:cubicBezTo>
                    <a:cubicBezTo>
                      <a:pt x="46" y="7"/>
                      <a:pt x="45" y="8"/>
                      <a:pt x="45" y="9"/>
                    </a:cubicBezTo>
                    <a:cubicBezTo>
                      <a:pt x="45" y="10"/>
                      <a:pt x="45" y="11"/>
                      <a:pt x="45" y="12"/>
                    </a:cubicBezTo>
                    <a:cubicBezTo>
                      <a:pt x="44" y="13"/>
                      <a:pt x="44" y="14"/>
                      <a:pt x="44" y="15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42" y="15"/>
                      <a:pt x="42" y="15"/>
                      <a:pt x="42" y="15"/>
                    </a:cubicBezTo>
                    <a:cubicBezTo>
                      <a:pt x="42" y="15"/>
                      <a:pt x="41" y="15"/>
                      <a:pt x="41" y="14"/>
                    </a:cubicBezTo>
                    <a:cubicBezTo>
                      <a:pt x="41" y="14"/>
                      <a:pt x="41" y="14"/>
                      <a:pt x="41" y="1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13"/>
                      <a:pt x="41" y="12"/>
                      <a:pt x="40" y="12"/>
                    </a:cubicBezTo>
                    <a:cubicBezTo>
                      <a:pt x="40" y="12"/>
                      <a:pt x="40" y="12"/>
                      <a:pt x="40" y="12"/>
                    </a:cubicBezTo>
                    <a:cubicBezTo>
                      <a:pt x="40" y="12"/>
                      <a:pt x="40" y="11"/>
                      <a:pt x="40" y="11"/>
                    </a:cubicBezTo>
                    <a:cubicBezTo>
                      <a:pt x="40" y="11"/>
                      <a:pt x="40" y="10"/>
                      <a:pt x="39" y="10"/>
                    </a:cubicBezTo>
                    <a:cubicBezTo>
                      <a:pt x="39" y="10"/>
                      <a:pt x="39" y="9"/>
                      <a:pt x="39" y="9"/>
                    </a:cubicBezTo>
                    <a:cubicBezTo>
                      <a:pt x="38" y="9"/>
                      <a:pt x="38" y="9"/>
                      <a:pt x="37" y="9"/>
                    </a:cubicBezTo>
                    <a:cubicBezTo>
                      <a:pt x="37" y="8"/>
                      <a:pt x="36" y="8"/>
                      <a:pt x="36" y="8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6" y="11"/>
                      <a:pt x="36" y="11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14"/>
                      <a:pt x="34" y="14"/>
                      <a:pt x="33" y="15"/>
                    </a:cubicBezTo>
                    <a:cubicBezTo>
                      <a:pt x="33" y="15"/>
                      <a:pt x="33" y="15"/>
                      <a:pt x="32" y="15"/>
                    </a:cubicBezTo>
                    <a:cubicBezTo>
                      <a:pt x="31" y="15"/>
                      <a:pt x="31" y="15"/>
                      <a:pt x="30" y="15"/>
                    </a:cubicBezTo>
                    <a:cubicBezTo>
                      <a:pt x="30" y="16"/>
                      <a:pt x="30" y="16"/>
                      <a:pt x="29" y="16"/>
                    </a:cubicBezTo>
                    <a:cubicBezTo>
                      <a:pt x="29" y="17"/>
                      <a:pt x="28" y="17"/>
                      <a:pt x="28" y="17"/>
                    </a:cubicBezTo>
                    <a:cubicBezTo>
                      <a:pt x="27" y="17"/>
                      <a:pt x="26" y="17"/>
                      <a:pt x="26" y="18"/>
                    </a:cubicBezTo>
                    <a:cubicBezTo>
                      <a:pt x="25" y="18"/>
                      <a:pt x="25" y="18"/>
                      <a:pt x="24" y="18"/>
                    </a:cubicBezTo>
                    <a:cubicBezTo>
                      <a:pt x="24" y="18"/>
                      <a:pt x="23" y="18"/>
                      <a:pt x="23" y="18"/>
                    </a:cubicBezTo>
                    <a:cubicBezTo>
                      <a:pt x="23" y="18"/>
                      <a:pt x="23" y="18"/>
                      <a:pt x="23" y="19"/>
                    </a:cubicBezTo>
                    <a:cubicBezTo>
                      <a:pt x="23" y="19"/>
                      <a:pt x="23" y="19"/>
                      <a:pt x="22" y="20"/>
                    </a:cubicBezTo>
                    <a:cubicBezTo>
                      <a:pt x="22" y="20"/>
                      <a:pt x="21" y="20"/>
                      <a:pt x="21" y="20"/>
                    </a:cubicBezTo>
                    <a:cubicBezTo>
                      <a:pt x="20" y="21"/>
                      <a:pt x="19" y="21"/>
                      <a:pt x="18" y="21"/>
                    </a:cubicBezTo>
                    <a:cubicBezTo>
                      <a:pt x="17" y="22"/>
                      <a:pt x="17" y="22"/>
                      <a:pt x="16" y="23"/>
                    </a:cubicBezTo>
                    <a:cubicBezTo>
                      <a:pt x="15" y="24"/>
                      <a:pt x="15" y="24"/>
                      <a:pt x="14" y="25"/>
                    </a:cubicBezTo>
                    <a:cubicBezTo>
                      <a:pt x="14" y="25"/>
                      <a:pt x="13" y="26"/>
                      <a:pt x="13" y="26"/>
                    </a:cubicBezTo>
                    <a:cubicBezTo>
                      <a:pt x="12" y="26"/>
                      <a:pt x="12" y="26"/>
                      <a:pt x="11" y="25"/>
                    </a:cubicBezTo>
                    <a:cubicBezTo>
                      <a:pt x="10" y="26"/>
                      <a:pt x="10" y="26"/>
                      <a:pt x="9" y="26"/>
                    </a:cubicBezTo>
                    <a:cubicBezTo>
                      <a:pt x="8" y="26"/>
                      <a:pt x="8" y="27"/>
                      <a:pt x="7" y="27"/>
                    </a:cubicBezTo>
                    <a:cubicBezTo>
                      <a:pt x="6" y="28"/>
                      <a:pt x="6" y="28"/>
                      <a:pt x="5" y="29"/>
                    </a:cubicBezTo>
                    <a:cubicBezTo>
                      <a:pt x="5" y="30"/>
                      <a:pt x="4" y="30"/>
                      <a:pt x="4" y="31"/>
                    </a:cubicBezTo>
                    <a:cubicBezTo>
                      <a:pt x="2" y="30"/>
                      <a:pt x="2" y="30"/>
                      <a:pt x="1" y="30"/>
                    </a:cubicBezTo>
                    <a:cubicBezTo>
                      <a:pt x="0" y="31"/>
                      <a:pt x="0" y="31"/>
                      <a:pt x="0" y="31"/>
                    </a:cubicBezTo>
                    <a:cubicBezTo>
                      <a:pt x="0" y="31"/>
                      <a:pt x="0" y="31"/>
                      <a:pt x="0" y="32"/>
                    </a:cubicBezTo>
                    <a:cubicBezTo>
                      <a:pt x="0" y="32"/>
                      <a:pt x="0" y="32"/>
                      <a:pt x="0" y="33"/>
                    </a:cubicBezTo>
                    <a:cubicBezTo>
                      <a:pt x="1" y="33"/>
                      <a:pt x="1" y="34"/>
                      <a:pt x="2" y="34"/>
                    </a:cubicBezTo>
                    <a:cubicBezTo>
                      <a:pt x="2" y="35"/>
                      <a:pt x="3" y="36"/>
                      <a:pt x="4" y="36"/>
                    </a:cubicBezTo>
                    <a:cubicBezTo>
                      <a:pt x="4" y="37"/>
                      <a:pt x="4" y="37"/>
                      <a:pt x="5" y="38"/>
                    </a:cubicBezTo>
                    <a:cubicBezTo>
                      <a:pt x="5" y="39"/>
                      <a:pt x="5" y="39"/>
                      <a:pt x="6" y="40"/>
                    </a:cubicBezTo>
                    <a:cubicBezTo>
                      <a:pt x="5" y="40"/>
                      <a:pt x="5" y="40"/>
                      <a:pt x="5" y="41"/>
                    </a:cubicBezTo>
                    <a:cubicBezTo>
                      <a:pt x="5" y="42"/>
                      <a:pt x="5" y="42"/>
                      <a:pt x="4" y="43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5"/>
                      <a:pt x="5" y="45"/>
                      <a:pt x="5" y="46"/>
                    </a:cubicBezTo>
                    <a:cubicBezTo>
                      <a:pt x="6" y="47"/>
                      <a:pt x="6" y="47"/>
                      <a:pt x="7" y="48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50"/>
                      <a:pt x="8" y="50"/>
                      <a:pt x="8" y="51"/>
                    </a:cubicBezTo>
                    <a:cubicBezTo>
                      <a:pt x="8" y="52"/>
                      <a:pt x="9" y="52"/>
                      <a:pt x="9" y="53"/>
                    </a:cubicBezTo>
                    <a:cubicBezTo>
                      <a:pt x="9" y="54"/>
                      <a:pt x="10" y="54"/>
                      <a:pt x="10" y="55"/>
                    </a:cubicBezTo>
                    <a:cubicBezTo>
                      <a:pt x="10" y="55"/>
                      <a:pt x="11" y="55"/>
                      <a:pt x="11" y="55"/>
                    </a:cubicBezTo>
                    <a:cubicBezTo>
                      <a:pt x="12" y="55"/>
                      <a:pt x="12" y="55"/>
                      <a:pt x="13" y="55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4" y="56"/>
                      <a:pt x="15" y="57"/>
                      <a:pt x="16" y="58"/>
                    </a:cubicBezTo>
                    <a:cubicBezTo>
                      <a:pt x="16" y="59"/>
                      <a:pt x="16" y="59"/>
                      <a:pt x="17" y="60"/>
                    </a:cubicBezTo>
                    <a:cubicBezTo>
                      <a:pt x="17" y="61"/>
                      <a:pt x="17" y="61"/>
                      <a:pt x="17" y="61"/>
                    </a:cubicBezTo>
                    <a:cubicBezTo>
                      <a:pt x="18" y="61"/>
                      <a:pt x="18" y="61"/>
                      <a:pt x="18" y="61"/>
                    </a:cubicBezTo>
                    <a:cubicBezTo>
                      <a:pt x="19" y="61"/>
                      <a:pt x="19" y="61"/>
                      <a:pt x="19" y="61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20" y="62"/>
                      <a:pt x="20" y="63"/>
                      <a:pt x="21" y="63"/>
                    </a:cubicBezTo>
                    <a:cubicBezTo>
                      <a:pt x="21" y="63"/>
                      <a:pt x="21" y="64"/>
                      <a:pt x="21" y="64"/>
                    </a:cubicBezTo>
                    <a:cubicBezTo>
                      <a:pt x="21" y="65"/>
                      <a:pt x="21" y="65"/>
                      <a:pt x="21" y="65"/>
                    </a:cubicBezTo>
                    <a:cubicBezTo>
                      <a:pt x="22" y="66"/>
                      <a:pt x="22" y="66"/>
                      <a:pt x="23" y="66"/>
                    </a:cubicBezTo>
                    <a:cubicBezTo>
                      <a:pt x="24" y="67"/>
                      <a:pt x="24" y="67"/>
                      <a:pt x="24" y="67"/>
                    </a:cubicBezTo>
                    <a:cubicBezTo>
                      <a:pt x="25" y="68"/>
                      <a:pt x="26" y="68"/>
                      <a:pt x="27" y="68"/>
                    </a:cubicBezTo>
                    <a:cubicBezTo>
                      <a:pt x="27" y="69"/>
                      <a:pt x="27" y="69"/>
                      <a:pt x="27" y="70"/>
                    </a:cubicBezTo>
                    <a:cubicBezTo>
                      <a:pt x="27" y="71"/>
                      <a:pt x="27" y="72"/>
                      <a:pt x="27" y="73"/>
                    </a:cubicBezTo>
                    <a:cubicBezTo>
                      <a:pt x="27" y="74"/>
                      <a:pt x="27" y="74"/>
                      <a:pt x="27" y="74"/>
                    </a:cubicBezTo>
                    <a:cubicBezTo>
                      <a:pt x="27" y="74"/>
                      <a:pt x="27" y="74"/>
                      <a:pt x="27" y="74"/>
                    </a:cubicBezTo>
                    <a:cubicBezTo>
                      <a:pt x="28" y="74"/>
                      <a:pt x="28" y="73"/>
                      <a:pt x="28" y="73"/>
                    </a:cubicBezTo>
                    <a:cubicBezTo>
                      <a:pt x="29" y="73"/>
                      <a:pt x="30" y="73"/>
                      <a:pt x="30" y="73"/>
                    </a:cubicBezTo>
                    <a:cubicBezTo>
                      <a:pt x="30" y="71"/>
                      <a:pt x="30" y="68"/>
                      <a:pt x="31" y="67"/>
                    </a:cubicBezTo>
                    <a:cubicBezTo>
                      <a:pt x="33" y="66"/>
                      <a:pt x="33" y="69"/>
                      <a:pt x="35" y="67"/>
                    </a:cubicBezTo>
                    <a:cubicBezTo>
                      <a:pt x="36" y="65"/>
                      <a:pt x="36" y="63"/>
                      <a:pt x="36" y="63"/>
                    </a:cubicBezTo>
                    <a:cubicBezTo>
                      <a:pt x="37" y="62"/>
                      <a:pt x="37" y="61"/>
                      <a:pt x="37" y="61"/>
                    </a:cubicBezTo>
                    <a:cubicBezTo>
                      <a:pt x="37" y="61"/>
                      <a:pt x="37" y="61"/>
                      <a:pt x="38" y="61"/>
                    </a:cubicBezTo>
                    <a:cubicBezTo>
                      <a:pt x="38" y="61"/>
                      <a:pt x="38" y="61"/>
                      <a:pt x="38" y="61"/>
                    </a:cubicBezTo>
                    <a:cubicBezTo>
                      <a:pt x="39" y="62"/>
                      <a:pt x="40" y="64"/>
                      <a:pt x="40" y="63"/>
                    </a:cubicBezTo>
                    <a:cubicBezTo>
                      <a:pt x="40" y="63"/>
                      <a:pt x="40" y="62"/>
                      <a:pt x="41" y="62"/>
                    </a:cubicBezTo>
                    <a:cubicBezTo>
                      <a:pt x="41" y="60"/>
                      <a:pt x="41" y="60"/>
                      <a:pt x="41" y="58"/>
                    </a:cubicBezTo>
                    <a:cubicBezTo>
                      <a:pt x="42" y="55"/>
                      <a:pt x="44" y="57"/>
                      <a:pt x="46" y="57"/>
                    </a:cubicBezTo>
                    <a:cubicBezTo>
                      <a:pt x="48" y="58"/>
                      <a:pt x="49" y="58"/>
                      <a:pt x="50" y="57"/>
                    </a:cubicBezTo>
                    <a:cubicBezTo>
                      <a:pt x="50" y="56"/>
                      <a:pt x="52" y="55"/>
                      <a:pt x="53" y="54"/>
                    </a:cubicBezTo>
                    <a:cubicBezTo>
                      <a:pt x="55" y="53"/>
                      <a:pt x="54" y="52"/>
                      <a:pt x="55" y="49"/>
                    </a:cubicBezTo>
                    <a:cubicBezTo>
                      <a:pt x="57" y="47"/>
                      <a:pt x="57" y="50"/>
                      <a:pt x="59" y="50"/>
                    </a:cubicBezTo>
                    <a:cubicBezTo>
                      <a:pt x="61" y="50"/>
                      <a:pt x="63" y="50"/>
                      <a:pt x="64" y="50"/>
                    </a:cubicBezTo>
                    <a:cubicBezTo>
                      <a:pt x="66" y="50"/>
                      <a:pt x="70" y="51"/>
                      <a:pt x="73" y="53"/>
                    </a:cubicBezTo>
                    <a:cubicBezTo>
                      <a:pt x="75" y="55"/>
                      <a:pt x="79" y="56"/>
                      <a:pt x="81" y="54"/>
                    </a:cubicBezTo>
                    <a:cubicBezTo>
                      <a:pt x="84" y="52"/>
                      <a:pt x="86" y="52"/>
                      <a:pt x="87" y="54"/>
                    </a:cubicBezTo>
                    <a:cubicBezTo>
                      <a:pt x="88" y="54"/>
                      <a:pt x="88" y="54"/>
                      <a:pt x="88" y="55"/>
                    </a:cubicBezTo>
                    <a:cubicBezTo>
                      <a:pt x="89" y="55"/>
                      <a:pt x="89" y="56"/>
                      <a:pt x="89" y="56"/>
                    </a:cubicBezTo>
                    <a:cubicBezTo>
                      <a:pt x="90" y="56"/>
                      <a:pt x="90" y="56"/>
                      <a:pt x="91" y="56"/>
                    </a:cubicBezTo>
                    <a:cubicBezTo>
                      <a:pt x="92" y="55"/>
                      <a:pt x="92" y="51"/>
                      <a:pt x="95" y="52"/>
                    </a:cubicBezTo>
                    <a:cubicBezTo>
                      <a:pt x="98" y="53"/>
                      <a:pt x="100" y="53"/>
                      <a:pt x="103" y="51"/>
                    </a:cubicBezTo>
                    <a:cubicBezTo>
                      <a:pt x="106" y="50"/>
                      <a:pt x="109" y="48"/>
                      <a:pt x="110" y="47"/>
                    </a:cubicBezTo>
                    <a:cubicBezTo>
                      <a:pt x="111" y="46"/>
                      <a:pt x="110" y="43"/>
                      <a:pt x="111" y="42"/>
                    </a:cubicBezTo>
                    <a:cubicBezTo>
                      <a:pt x="112" y="40"/>
                      <a:pt x="115" y="40"/>
                      <a:pt x="117" y="39"/>
                    </a:cubicBezTo>
                    <a:cubicBezTo>
                      <a:pt x="119" y="38"/>
                      <a:pt x="118" y="37"/>
                      <a:pt x="120" y="37"/>
                    </a:cubicBezTo>
                    <a:cubicBezTo>
                      <a:pt x="122" y="36"/>
                      <a:pt x="124" y="36"/>
                      <a:pt x="124" y="36"/>
                    </a:cubicBezTo>
                    <a:cubicBezTo>
                      <a:pt x="123" y="36"/>
                      <a:pt x="123" y="33"/>
                      <a:pt x="121" y="32"/>
                    </a:cubicBezTo>
                    <a:close/>
                  </a:path>
                </a:pathLst>
              </a:custGeom>
              <a:pattFill prst="wdUpDiag">
                <a:fgClr>
                  <a:schemeClr val="accent3"/>
                </a:fgClr>
                <a:bgClr>
                  <a:schemeClr val="accent4"/>
                </a:bgClr>
              </a:patt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26" name="Gruppieren 311">
                <a:extLst>
                  <a:ext uri="{FF2B5EF4-FFF2-40B4-BE49-F238E27FC236}">
                    <a16:creationId xmlns:a16="http://schemas.microsoft.com/office/drawing/2014/main" id="{606F9E81-4A0B-C8F5-77BD-847907C9FC4E}"/>
                  </a:ext>
                </a:extLst>
              </p:cNvPr>
              <p:cNvGrpSpPr/>
              <p:nvPr/>
            </p:nvGrpSpPr>
            <p:grpSpPr bwMode="gray">
              <a:xfrm>
                <a:off x="3231849" y="4965618"/>
                <a:ext cx="894975" cy="1081364"/>
                <a:chOff x="3190876" y="5041900"/>
                <a:chExt cx="922338" cy="1114425"/>
              </a:xfrm>
              <a:grpFill/>
            </p:grpSpPr>
            <p:sp>
              <p:nvSpPr>
                <p:cNvPr id="544" name="Freeform 70">
                  <a:extLst>
                    <a:ext uri="{FF2B5EF4-FFF2-40B4-BE49-F238E27FC236}">
                      <a16:creationId xmlns:a16="http://schemas.microsoft.com/office/drawing/2014/main" id="{E735074D-E381-8D59-6A8C-F73F2E81C0C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636964" y="5969000"/>
                  <a:ext cx="255588" cy="187325"/>
                </a:xfrm>
                <a:custGeom>
                  <a:avLst/>
                  <a:gdLst>
                    <a:gd name="T0" fmla="*/ 45 w 61"/>
                    <a:gd name="T1" fmla="*/ 3 h 45"/>
                    <a:gd name="T2" fmla="*/ 49 w 61"/>
                    <a:gd name="T3" fmla="*/ 4 h 45"/>
                    <a:gd name="T4" fmla="*/ 52 w 61"/>
                    <a:gd name="T5" fmla="*/ 5 h 45"/>
                    <a:gd name="T6" fmla="*/ 54 w 61"/>
                    <a:gd name="T7" fmla="*/ 3 h 45"/>
                    <a:gd name="T8" fmla="*/ 58 w 61"/>
                    <a:gd name="T9" fmla="*/ 1 h 45"/>
                    <a:gd name="T10" fmla="*/ 60 w 61"/>
                    <a:gd name="T11" fmla="*/ 2 h 45"/>
                    <a:gd name="T12" fmla="*/ 58 w 61"/>
                    <a:gd name="T13" fmla="*/ 7 h 45"/>
                    <a:gd name="T14" fmla="*/ 54 w 61"/>
                    <a:gd name="T15" fmla="*/ 14 h 45"/>
                    <a:gd name="T16" fmla="*/ 52 w 61"/>
                    <a:gd name="T17" fmla="*/ 22 h 45"/>
                    <a:gd name="T18" fmla="*/ 51 w 61"/>
                    <a:gd name="T19" fmla="*/ 25 h 45"/>
                    <a:gd name="T20" fmla="*/ 53 w 61"/>
                    <a:gd name="T21" fmla="*/ 28 h 45"/>
                    <a:gd name="T22" fmla="*/ 54 w 61"/>
                    <a:gd name="T23" fmla="*/ 33 h 45"/>
                    <a:gd name="T24" fmla="*/ 54 w 61"/>
                    <a:gd name="T25" fmla="*/ 36 h 45"/>
                    <a:gd name="T26" fmla="*/ 52 w 61"/>
                    <a:gd name="T27" fmla="*/ 41 h 45"/>
                    <a:gd name="T28" fmla="*/ 51 w 61"/>
                    <a:gd name="T29" fmla="*/ 45 h 45"/>
                    <a:gd name="T30" fmla="*/ 47 w 61"/>
                    <a:gd name="T31" fmla="*/ 44 h 45"/>
                    <a:gd name="T32" fmla="*/ 43 w 61"/>
                    <a:gd name="T33" fmla="*/ 44 h 45"/>
                    <a:gd name="T34" fmla="*/ 40 w 61"/>
                    <a:gd name="T35" fmla="*/ 42 h 45"/>
                    <a:gd name="T36" fmla="*/ 38 w 61"/>
                    <a:gd name="T37" fmla="*/ 38 h 45"/>
                    <a:gd name="T38" fmla="*/ 34 w 61"/>
                    <a:gd name="T39" fmla="*/ 34 h 45"/>
                    <a:gd name="T40" fmla="*/ 29 w 61"/>
                    <a:gd name="T41" fmla="*/ 33 h 45"/>
                    <a:gd name="T42" fmla="*/ 24 w 61"/>
                    <a:gd name="T43" fmla="*/ 31 h 45"/>
                    <a:gd name="T44" fmla="*/ 21 w 61"/>
                    <a:gd name="T45" fmla="*/ 28 h 45"/>
                    <a:gd name="T46" fmla="*/ 17 w 61"/>
                    <a:gd name="T47" fmla="*/ 25 h 45"/>
                    <a:gd name="T48" fmla="*/ 11 w 61"/>
                    <a:gd name="T49" fmla="*/ 22 h 45"/>
                    <a:gd name="T50" fmla="*/ 7 w 61"/>
                    <a:gd name="T51" fmla="*/ 21 h 45"/>
                    <a:gd name="T52" fmla="*/ 3 w 61"/>
                    <a:gd name="T53" fmla="*/ 20 h 45"/>
                    <a:gd name="T54" fmla="*/ 1 w 61"/>
                    <a:gd name="T55" fmla="*/ 17 h 45"/>
                    <a:gd name="T56" fmla="*/ 2 w 61"/>
                    <a:gd name="T57" fmla="*/ 10 h 45"/>
                    <a:gd name="T58" fmla="*/ 3 w 61"/>
                    <a:gd name="T59" fmla="*/ 8 h 45"/>
                    <a:gd name="T60" fmla="*/ 6 w 61"/>
                    <a:gd name="T61" fmla="*/ 4 h 45"/>
                    <a:gd name="T62" fmla="*/ 8 w 61"/>
                    <a:gd name="T63" fmla="*/ 6 h 45"/>
                    <a:gd name="T64" fmla="*/ 11 w 61"/>
                    <a:gd name="T65" fmla="*/ 7 h 45"/>
                    <a:gd name="T66" fmla="*/ 16 w 61"/>
                    <a:gd name="T67" fmla="*/ 4 h 45"/>
                    <a:gd name="T68" fmla="*/ 22 w 61"/>
                    <a:gd name="T69" fmla="*/ 8 h 45"/>
                    <a:gd name="T70" fmla="*/ 27 w 61"/>
                    <a:gd name="T71" fmla="*/ 8 h 45"/>
                    <a:gd name="T72" fmla="*/ 32 w 61"/>
                    <a:gd name="T73" fmla="*/ 8 h 45"/>
                    <a:gd name="T74" fmla="*/ 39 w 61"/>
                    <a:gd name="T75" fmla="*/ 7 h 45"/>
                    <a:gd name="T76" fmla="*/ 44 w 61"/>
                    <a:gd name="T77" fmla="*/ 5 h 45"/>
                    <a:gd name="T78" fmla="*/ 45 w 61"/>
                    <a:gd name="T79" fmla="*/ 3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61" h="45">
                      <a:moveTo>
                        <a:pt x="45" y="3"/>
                      </a:moveTo>
                      <a:cubicBezTo>
                        <a:pt x="47" y="2"/>
                        <a:pt x="48" y="3"/>
                        <a:pt x="49" y="4"/>
                      </a:cubicBezTo>
                      <a:cubicBezTo>
                        <a:pt x="50" y="5"/>
                        <a:pt x="51" y="6"/>
                        <a:pt x="52" y="5"/>
                      </a:cubicBezTo>
                      <a:cubicBezTo>
                        <a:pt x="53" y="3"/>
                        <a:pt x="53" y="3"/>
                        <a:pt x="54" y="3"/>
                      </a:cubicBezTo>
                      <a:cubicBezTo>
                        <a:pt x="55" y="3"/>
                        <a:pt x="58" y="2"/>
                        <a:pt x="58" y="1"/>
                      </a:cubicBezTo>
                      <a:cubicBezTo>
                        <a:pt x="59" y="0"/>
                        <a:pt x="61" y="0"/>
                        <a:pt x="60" y="2"/>
                      </a:cubicBezTo>
                      <a:cubicBezTo>
                        <a:pt x="60" y="3"/>
                        <a:pt x="58" y="6"/>
                        <a:pt x="58" y="7"/>
                      </a:cubicBezTo>
                      <a:cubicBezTo>
                        <a:pt x="57" y="8"/>
                        <a:pt x="55" y="12"/>
                        <a:pt x="54" y="14"/>
                      </a:cubicBezTo>
                      <a:cubicBezTo>
                        <a:pt x="53" y="16"/>
                        <a:pt x="53" y="20"/>
                        <a:pt x="52" y="22"/>
                      </a:cubicBezTo>
                      <a:cubicBezTo>
                        <a:pt x="51" y="23"/>
                        <a:pt x="50" y="23"/>
                        <a:pt x="51" y="25"/>
                      </a:cubicBezTo>
                      <a:cubicBezTo>
                        <a:pt x="51" y="27"/>
                        <a:pt x="52" y="27"/>
                        <a:pt x="53" y="28"/>
                      </a:cubicBezTo>
                      <a:cubicBezTo>
                        <a:pt x="53" y="29"/>
                        <a:pt x="53" y="32"/>
                        <a:pt x="54" y="33"/>
                      </a:cubicBezTo>
                      <a:cubicBezTo>
                        <a:pt x="54" y="34"/>
                        <a:pt x="55" y="35"/>
                        <a:pt x="54" y="36"/>
                      </a:cubicBezTo>
                      <a:cubicBezTo>
                        <a:pt x="54" y="37"/>
                        <a:pt x="52" y="39"/>
                        <a:pt x="52" y="41"/>
                      </a:cubicBezTo>
                      <a:cubicBezTo>
                        <a:pt x="52" y="43"/>
                        <a:pt x="52" y="45"/>
                        <a:pt x="51" y="45"/>
                      </a:cubicBezTo>
                      <a:cubicBezTo>
                        <a:pt x="50" y="45"/>
                        <a:pt x="48" y="44"/>
                        <a:pt x="47" y="44"/>
                      </a:cubicBezTo>
                      <a:cubicBezTo>
                        <a:pt x="45" y="45"/>
                        <a:pt x="44" y="44"/>
                        <a:pt x="43" y="44"/>
                      </a:cubicBezTo>
                      <a:cubicBezTo>
                        <a:pt x="42" y="43"/>
                        <a:pt x="41" y="43"/>
                        <a:pt x="40" y="42"/>
                      </a:cubicBezTo>
                      <a:cubicBezTo>
                        <a:pt x="39" y="42"/>
                        <a:pt x="39" y="40"/>
                        <a:pt x="38" y="38"/>
                      </a:cubicBezTo>
                      <a:cubicBezTo>
                        <a:pt x="38" y="37"/>
                        <a:pt x="35" y="34"/>
                        <a:pt x="34" y="34"/>
                      </a:cubicBezTo>
                      <a:cubicBezTo>
                        <a:pt x="33" y="33"/>
                        <a:pt x="31" y="33"/>
                        <a:pt x="29" y="33"/>
                      </a:cubicBezTo>
                      <a:cubicBezTo>
                        <a:pt x="27" y="33"/>
                        <a:pt x="25" y="32"/>
                        <a:pt x="24" y="31"/>
                      </a:cubicBezTo>
                      <a:cubicBezTo>
                        <a:pt x="23" y="29"/>
                        <a:pt x="22" y="29"/>
                        <a:pt x="21" y="28"/>
                      </a:cubicBezTo>
                      <a:cubicBezTo>
                        <a:pt x="19" y="27"/>
                        <a:pt x="17" y="27"/>
                        <a:pt x="17" y="25"/>
                      </a:cubicBezTo>
                      <a:cubicBezTo>
                        <a:pt x="16" y="23"/>
                        <a:pt x="13" y="22"/>
                        <a:pt x="11" y="22"/>
                      </a:cubicBezTo>
                      <a:cubicBezTo>
                        <a:pt x="10" y="21"/>
                        <a:pt x="10" y="20"/>
                        <a:pt x="7" y="21"/>
                      </a:cubicBezTo>
                      <a:cubicBezTo>
                        <a:pt x="5" y="21"/>
                        <a:pt x="4" y="22"/>
                        <a:pt x="3" y="20"/>
                      </a:cubicBezTo>
                      <a:cubicBezTo>
                        <a:pt x="3" y="18"/>
                        <a:pt x="2" y="17"/>
                        <a:pt x="1" y="17"/>
                      </a:cubicBezTo>
                      <a:cubicBezTo>
                        <a:pt x="0" y="16"/>
                        <a:pt x="2" y="11"/>
                        <a:pt x="2" y="10"/>
                      </a:cubicBezTo>
                      <a:cubicBezTo>
                        <a:pt x="2" y="9"/>
                        <a:pt x="2" y="8"/>
                        <a:pt x="3" y="8"/>
                      </a:cubicBezTo>
                      <a:cubicBezTo>
                        <a:pt x="3" y="8"/>
                        <a:pt x="5" y="5"/>
                        <a:pt x="6" y="4"/>
                      </a:cubicBezTo>
                      <a:cubicBezTo>
                        <a:pt x="6" y="3"/>
                        <a:pt x="7" y="5"/>
                        <a:pt x="8" y="6"/>
                      </a:cubicBezTo>
                      <a:cubicBezTo>
                        <a:pt x="9" y="8"/>
                        <a:pt x="10" y="9"/>
                        <a:pt x="11" y="7"/>
                      </a:cubicBezTo>
                      <a:cubicBezTo>
                        <a:pt x="13" y="4"/>
                        <a:pt x="15" y="3"/>
                        <a:pt x="16" y="4"/>
                      </a:cubicBezTo>
                      <a:cubicBezTo>
                        <a:pt x="18" y="4"/>
                        <a:pt x="21" y="7"/>
                        <a:pt x="22" y="8"/>
                      </a:cubicBezTo>
                      <a:cubicBezTo>
                        <a:pt x="23" y="8"/>
                        <a:pt x="25" y="9"/>
                        <a:pt x="27" y="8"/>
                      </a:cubicBezTo>
                      <a:cubicBezTo>
                        <a:pt x="29" y="8"/>
                        <a:pt x="30" y="8"/>
                        <a:pt x="32" y="8"/>
                      </a:cubicBezTo>
                      <a:cubicBezTo>
                        <a:pt x="33" y="7"/>
                        <a:pt x="36" y="8"/>
                        <a:pt x="39" y="7"/>
                      </a:cubicBezTo>
                      <a:cubicBezTo>
                        <a:pt x="41" y="7"/>
                        <a:pt x="42" y="6"/>
                        <a:pt x="44" y="5"/>
                      </a:cubicBezTo>
                      <a:cubicBezTo>
                        <a:pt x="45" y="3"/>
                        <a:pt x="45" y="3"/>
                        <a:pt x="45" y="3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5" name="Freeform 112">
                  <a:extLst>
                    <a:ext uri="{FF2B5EF4-FFF2-40B4-BE49-F238E27FC236}">
                      <a16:creationId xmlns:a16="http://schemas.microsoft.com/office/drawing/2014/main" id="{BAF97DEF-30A1-00E0-AF91-000FD0AC479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454401" y="5451475"/>
                  <a:ext cx="28575" cy="20638"/>
                </a:xfrm>
                <a:custGeom>
                  <a:avLst/>
                  <a:gdLst>
                    <a:gd name="T0" fmla="*/ 5 w 7"/>
                    <a:gd name="T1" fmla="*/ 5 h 5"/>
                    <a:gd name="T2" fmla="*/ 6 w 7"/>
                    <a:gd name="T3" fmla="*/ 1 h 5"/>
                    <a:gd name="T4" fmla="*/ 4 w 7"/>
                    <a:gd name="T5" fmla="*/ 2 h 5"/>
                    <a:gd name="T6" fmla="*/ 0 w 7"/>
                    <a:gd name="T7" fmla="*/ 3 h 5"/>
                    <a:gd name="T8" fmla="*/ 2 w 7"/>
                    <a:gd name="T9" fmla="*/ 5 h 5"/>
                    <a:gd name="T10" fmla="*/ 5 w 7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5">
                      <a:moveTo>
                        <a:pt x="5" y="5"/>
                      </a:moveTo>
                      <a:cubicBezTo>
                        <a:pt x="7" y="4"/>
                        <a:pt x="6" y="3"/>
                        <a:pt x="6" y="1"/>
                      </a:cubicBezTo>
                      <a:cubicBezTo>
                        <a:pt x="6" y="0"/>
                        <a:pt x="5" y="2"/>
                        <a:pt x="4" y="2"/>
                      </a:cubicBezTo>
                      <a:cubicBezTo>
                        <a:pt x="3" y="2"/>
                        <a:pt x="1" y="2"/>
                        <a:pt x="0" y="3"/>
                      </a:cubicBezTo>
                      <a:cubicBezTo>
                        <a:pt x="0" y="3"/>
                        <a:pt x="1" y="4"/>
                        <a:pt x="2" y="5"/>
                      </a:cubicBezTo>
                      <a:cubicBezTo>
                        <a:pt x="3" y="5"/>
                        <a:pt x="5" y="5"/>
                        <a:pt x="5" y="5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6" name="Freeform 114">
                  <a:extLst>
                    <a:ext uri="{FF2B5EF4-FFF2-40B4-BE49-F238E27FC236}">
                      <a16:creationId xmlns:a16="http://schemas.microsoft.com/office/drawing/2014/main" id="{E172C2C5-1ABE-DB27-1066-396876C1E87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00414" y="5634038"/>
                  <a:ext cx="128588" cy="276225"/>
                </a:xfrm>
                <a:custGeom>
                  <a:avLst/>
                  <a:gdLst>
                    <a:gd name="T0" fmla="*/ 0 w 31"/>
                    <a:gd name="T1" fmla="*/ 12 h 66"/>
                    <a:gd name="T2" fmla="*/ 1 w 31"/>
                    <a:gd name="T3" fmla="*/ 8 h 66"/>
                    <a:gd name="T4" fmla="*/ 5 w 31"/>
                    <a:gd name="T5" fmla="*/ 11 h 66"/>
                    <a:gd name="T6" fmla="*/ 9 w 31"/>
                    <a:gd name="T7" fmla="*/ 11 h 66"/>
                    <a:gd name="T8" fmla="*/ 15 w 31"/>
                    <a:gd name="T9" fmla="*/ 6 h 66"/>
                    <a:gd name="T10" fmla="*/ 19 w 31"/>
                    <a:gd name="T11" fmla="*/ 3 h 66"/>
                    <a:gd name="T12" fmla="*/ 21 w 31"/>
                    <a:gd name="T13" fmla="*/ 0 h 66"/>
                    <a:gd name="T14" fmla="*/ 24 w 31"/>
                    <a:gd name="T15" fmla="*/ 4 h 66"/>
                    <a:gd name="T16" fmla="*/ 27 w 31"/>
                    <a:gd name="T17" fmla="*/ 5 h 66"/>
                    <a:gd name="T18" fmla="*/ 28 w 31"/>
                    <a:gd name="T19" fmla="*/ 8 h 66"/>
                    <a:gd name="T20" fmla="*/ 29 w 31"/>
                    <a:gd name="T21" fmla="*/ 13 h 66"/>
                    <a:gd name="T22" fmla="*/ 31 w 31"/>
                    <a:gd name="T23" fmla="*/ 20 h 66"/>
                    <a:gd name="T24" fmla="*/ 28 w 31"/>
                    <a:gd name="T25" fmla="*/ 28 h 66"/>
                    <a:gd name="T26" fmla="*/ 30 w 31"/>
                    <a:gd name="T27" fmla="*/ 34 h 66"/>
                    <a:gd name="T28" fmla="*/ 28 w 31"/>
                    <a:gd name="T29" fmla="*/ 49 h 66"/>
                    <a:gd name="T30" fmla="*/ 27 w 31"/>
                    <a:gd name="T31" fmla="*/ 56 h 66"/>
                    <a:gd name="T32" fmla="*/ 24 w 31"/>
                    <a:gd name="T33" fmla="*/ 57 h 66"/>
                    <a:gd name="T34" fmla="*/ 19 w 31"/>
                    <a:gd name="T35" fmla="*/ 55 h 66"/>
                    <a:gd name="T36" fmla="*/ 16 w 31"/>
                    <a:gd name="T37" fmla="*/ 54 h 66"/>
                    <a:gd name="T38" fmla="*/ 17 w 31"/>
                    <a:gd name="T39" fmla="*/ 58 h 66"/>
                    <a:gd name="T40" fmla="*/ 16 w 31"/>
                    <a:gd name="T41" fmla="*/ 61 h 66"/>
                    <a:gd name="T42" fmla="*/ 12 w 31"/>
                    <a:gd name="T43" fmla="*/ 65 h 66"/>
                    <a:gd name="T44" fmla="*/ 10 w 31"/>
                    <a:gd name="T45" fmla="*/ 65 h 66"/>
                    <a:gd name="T46" fmla="*/ 8 w 31"/>
                    <a:gd name="T47" fmla="*/ 62 h 66"/>
                    <a:gd name="T48" fmla="*/ 7 w 31"/>
                    <a:gd name="T49" fmla="*/ 61 h 66"/>
                    <a:gd name="T50" fmla="*/ 4 w 31"/>
                    <a:gd name="T51" fmla="*/ 60 h 66"/>
                    <a:gd name="T52" fmla="*/ 6 w 31"/>
                    <a:gd name="T53" fmla="*/ 57 h 66"/>
                    <a:gd name="T54" fmla="*/ 5 w 31"/>
                    <a:gd name="T55" fmla="*/ 52 h 66"/>
                    <a:gd name="T56" fmla="*/ 6 w 31"/>
                    <a:gd name="T57" fmla="*/ 45 h 66"/>
                    <a:gd name="T58" fmla="*/ 6 w 31"/>
                    <a:gd name="T59" fmla="*/ 41 h 66"/>
                    <a:gd name="T60" fmla="*/ 8 w 31"/>
                    <a:gd name="T61" fmla="*/ 39 h 66"/>
                    <a:gd name="T62" fmla="*/ 6 w 31"/>
                    <a:gd name="T63" fmla="*/ 37 h 66"/>
                    <a:gd name="T64" fmla="*/ 6 w 31"/>
                    <a:gd name="T65" fmla="*/ 33 h 66"/>
                    <a:gd name="T66" fmla="*/ 6 w 31"/>
                    <a:gd name="T67" fmla="*/ 26 h 66"/>
                    <a:gd name="T68" fmla="*/ 5 w 31"/>
                    <a:gd name="T69" fmla="*/ 24 h 66"/>
                    <a:gd name="T70" fmla="*/ 3 w 31"/>
                    <a:gd name="T71" fmla="*/ 20 h 66"/>
                    <a:gd name="T72" fmla="*/ 0 w 31"/>
                    <a:gd name="T73" fmla="*/ 1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31" h="66">
                      <a:moveTo>
                        <a:pt x="0" y="12"/>
                      </a:moveTo>
                      <a:cubicBezTo>
                        <a:pt x="1" y="10"/>
                        <a:pt x="0" y="8"/>
                        <a:pt x="1" y="8"/>
                      </a:cubicBezTo>
                      <a:cubicBezTo>
                        <a:pt x="2" y="9"/>
                        <a:pt x="3" y="10"/>
                        <a:pt x="5" y="11"/>
                      </a:cubicBezTo>
                      <a:cubicBezTo>
                        <a:pt x="6" y="11"/>
                        <a:pt x="8" y="12"/>
                        <a:pt x="9" y="11"/>
                      </a:cubicBezTo>
                      <a:cubicBezTo>
                        <a:pt x="11" y="9"/>
                        <a:pt x="13" y="8"/>
                        <a:pt x="15" y="6"/>
                      </a:cubicBezTo>
                      <a:cubicBezTo>
                        <a:pt x="16" y="4"/>
                        <a:pt x="17" y="4"/>
                        <a:pt x="19" y="3"/>
                      </a:cubicBezTo>
                      <a:cubicBezTo>
                        <a:pt x="20" y="2"/>
                        <a:pt x="20" y="0"/>
                        <a:pt x="21" y="0"/>
                      </a:cubicBezTo>
                      <a:cubicBezTo>
                        <a:pt x="22" y="1"/>
                        <a:pt x="23" y="4"/>
                        <a:pt x="24" y="4"/>
                      </a:cubicBezTo>
                      <a:cubicBezTo>
                        <a:pt x="26" y="4"/>
                        <a:pt x="26" y="3"/>
                        <a:pt x="27" y="5"/>
                      </a:cubicBezTo>
                      <a:cubicBezTo>
                        <a:pt x="27" y="7"/>
                        <a:pt x="28" y="7"/>
                        <a:pt x="28" y="8"/>
                      </a:cubicBezTo>
                      <a:cubicBezTo>
                        <a:pt x="27" y="10"/>
                        <a:pt x="28" y="9"/>
                        <a:pt x="29" y="13"/>
                      </a:cubicBezTo>
                      <a:cubicBezTo>
                        <a:pt x="30" y="16"/>
                        <a:pt x="31" y="18"/>
                        <a:pt x="31" y="20"/>
                      </a:cubicBezTo>
                      <a:cubicBezTo>
                        <a:pt x="31" y="23"/>
                        <a:pt x="28" y="25"/>
                        <a:pt x="28" y="28"/>
                      </a:cubicBezTo>
                      <a:cubicBezTo>
                        <a:pt x="29" y="31"/>
                        <a:pt x="30" y="31"/>
                        <a:pt x="30" y="34"/>
                      </a:cubicBezTo>
                      <a:cubicBezTo>
                        <a:pt x="29" y="37"/>
                        <a:pt x="28" y="46"/>
                        <a:pt x="28" y="49"/>
                      </a:cubicBezTo>
                      <a:cubicBezTo>
                        <a:pt x="28" y="53"/>
                        <a:pt x="27" y="54"/>
                        <a:pt x="27" y="56"/>
                      </a:cubicBezTo>
                      <a:cubicBezTo>
                        <a:pt x="26" y="58"/>
                        <a:pt x="25" y="58"/>
                        <a:pt x="24" y="57"/>
                      </a:cubicBezTo>
                      <a:cubicBezTo>
                        <a:pt x="23" y="55"/>
                        <a:pt x="21" y="55"/>
                        <a:pt x="19" y="55"/>
                      </a:cubicBezTo>
                      <a:cubicBezTo>
                        <a:pt x="18" y="55"/>
                        <a:pt x="16" y="53"/>
                        <a:pt x="16" y="54"/>
                      </a:cubicBezTo>
                      <a:cubicBezTo>
                        <a:pt x="17" y="55"/>
                        <a:pt x="17" y="57"/>
                        <a:pt x="17" y="58"/>
                      </a:cubicBezTo>
                      <a:cubicBezTo>
                        <a:pt x="17" y="59"/>
                        <a:pt x="18" y="59"/>
                        <a:pt x="16" y="61"/>
                      </a:cubicBezTo>
                      <a:cubicBezTo>
                        <a:pt x="15" y="63"/>
                        <a:pt x="13" y="64"/>
                        <a:pt x="12" y="65"/>
                      </a:cubicBezTo>
                      <a:cubicBezTo>
                        <a:pt x="12" y="65"/>
                        <a:pt x="11" y="63"/>
                        <a:pt x="10" y="65"/>
                      </a:cubicBezTo>
                      <a:cubicBezTo>
                        <a:pt x="9" y="66"/>
                        <a:pt x="8" y="64"/>
                        <a:pt x="8" y="62"/>
                      </a:cubicBezTo>
                      <a:cubicBezTo>
                        <a:pt x="8" y="60"/>
                        <a:pt x="8" y="59"/>
                        <a:pt x="7" y="61"/>
                      </a:cubicBezTo>
                      <a:cubicBezTo>
                        <a:pt x="6" y="62"/>
                        <a:pt x="5" y="62"/>
                        <a:pt x="4" y="60"/>
                      </a:cubicBezTo>
                      <a:cubicBezTo>
                        <a:pt x="4" y="58"/>
                        <a:pt x="6" y="58"/>
                        <a:pt x="6" y="57"/>
                      </a:cubicBezTo>
                      <a:cubicBezTo>
                        <a:pt x="5" y="56"/>
                        <a:pt x="4" y="55"/>
                        <a:pt x="5" y="52"/>
                      </a:cubicBezTo>
                      <a:cubicBezTo>
                        <a:pt x="5" y="49"/>
                        <a:pt x="6" y="48"/>
                        <a:pt x="6" y="45"/>
                      </a:cubicBezTo>
                      <a:cubicBezTo>
                        <a:pt x="6" y="43"/>
                        <a:pt x="5" y="40"/>
                        <a:pt x="6" y="41"/>
                      </a:cubicBezTo>
                      <a:cubicBezTo>
                        <a:pt x="7" y="41"/>
                        <a:pt x="8" y="41"/>
                        <a:pt x="8" y="39"/>
                      </a:cubicBezTo>
                      <a:cubicBezTo>
                        <a:pt x="8" y="38"/>
                        <a:pt x="8" y="38"/>
                        <a:pt x="6" y="37"/>
                      </a:cubicBezTo>
                      <a:cubicBezTo>
                        <a:pt x="5" y="35"/>
                        <a:pt x="5" y="35"/>
                        <a:pt x="6" y="33"/>
                      </a:cubicBezTo>
                      <a:cubicBezTo>
                        <a:pt x="7" y="31"/>
                        <a:pt x="6" y="28"/>
                        <a:pt x="6" y="26"/>
                      </a:cubicBezTo>
                      <a:cubicBezTo>
                        <a:pt x="5" y="24"/>
                        <a:pt x="4" y="25"/>
                        <a:pt x="5" y="24"/>
                      </a:cubicBezTo>
                      <a:cubicBezTo>
                        <a:pt x="5" y="22"/>
                        <a:pt x="4" y="22"/>
                        <a:pt x="3" y="20"/>
                      </a:cubicBezTo>
                      <a:cubicBezTo>
                        <a:pt x="1" y="17"/>
                        <a:pt x="0" y="16"/>
                        <a:pt x="0" y="1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7" name="Freeform 203">
                  <a:extLst>
                    <a:ext uri="{FF2B5EF4-FFF2-40B4-BE49-F238E27FC236}">
                      <a16:creationId xmlns:a16="http://schemas.microsoft.com/office/drawing/2014/main" id="{55501DFB-651F-0F8A-EFFE-6899442EA5B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190876" y="5041900"/>
                  <a:ext cx="922338" cy="976313"/>
                </a:xfrm>
                <a:custGeom>
                  <a:avLst/>
                  <a:gdLst>
                    <a:gd name="T0" fmla="*/ 210 w 221"/>
                    <a:gd name="T1" fmla="*/ 159 h 234"/>
                    <a:gd name="T2" fmla="*/ 188 w 221"/>
                    <a:gd name="T3" fmla="*/ 145 h 234"/>
                    <a:gd name="T4" fmla="*/ 172 w 221"/>
                    <a:gd name="T5" fmla="*/ 132 h 234"/>
                    <a:gd name="T6" fmla="*/ 168 w 221"/>
                    <a:gd name="T7" fmla="*/ 124 h 234"/>
                    <a:gd name="T8" fmla="*/ 149 w 221"/>
                    <a:gd name="T9" fmla="*/ 118 h 234"/>
                    <a:gd name="T10" fmla="*/ 132 w 221"/>
                    <a:gd name="T11" fmla="*/ 95 h 234"/>
                    <a:gd name="T12" fmla="*/ 116 w 221"/>
                    <a:gd name="T13" fmla="*/ 72 h 234"/>
                    <a:gd name="T14" fmla="*/ 104 w 221"/>
                    <a:gd name="T15" fmla="*/ 58 h 234"/>
                    <a:gd name="T16" fmla="*/ 106 w 221"/>
                    <a:gd name="T17" fmla="*/ 46 h 234"/>
                    <a:gd name="T18" fmla="*/ 103 w 221"/>
                    <a:gd name="T19" fmla="*/ 38 h 234"/>
                    <a:gd name="T20" fmla="*/ 102 w 221"/>
                    <a:gd name="T21" fmla="*/ 31 h 234"/>
                    <a:gd name="T22" fmla="*/ 110 w 221"/>
                    <a:gd name="T23" fmla="*/ 29 h 234"/>
                    <a:gd name="T24" fmla="*/ 119 w 221"/>
                    <a:gd name="T25" fmla="*/ 22 h 234"/>
                    <a:gd name="T26" fmla="*/ 127 w 221"/>
                    <a:gd name="T27" fmla="*/ 22 h 234"/>
                    <a:gd name="T28" fmla="*/ 128 w 221"/>
                    <a:gd name="T29" fmla="*/ 12 h 234"/>
                    <a:gd name="T30" fmla="*/ 111 w 221"/>
                    <a:gd name="T31" fmla="*/ 10 h 234"/>
                    <a:gd name="T32" fmla="*/ 99 w 221"/>
                    <a:gd name="T33" fmla="*/ 4 h 234"/>
                    <a:gd name="T34" fmla="*/ 82 w 221"/>
                    <a:gd name="T35" fmla="*/ 12 h 234"/>
                    <a:gd name="T36" fmla="*/ 75 w 221"/>
                    <a:gd name="T37" fmla="*/ 7 h 234"/>
                    <a:gd name="T38" fmla="*/ 66 w 221"/>
                    <a:gd name="T39" fmla="*/ 10 h 234"/>
                    <a:gd name="T40" fmla="*/ 60 w 221"/>
                    <a:gd name="T41" fmla="*/ 7 h 234"/>
                    <a:gd name="T42" fmla="*/ 49 w 221"/>
                    <a:gd name="T43" fmla="*/ 3 h 234"/>
                    <a:gd name="T44" fmla="*/ 42 w 221"/>
                    <a:gd name="T45" fmla="*/ 19 h 234"/>
                    <a:gd name="T46" fmla="*/ 33 w 221"/>
                    <a:gd name="T47" fmla="*/ 10 h 234"/>
                    <a:gd name="T48" fmla="*/ 26 w 221"/>
                    <a:gd name="T49" fmla="*/ 9 h 234"/>
                    <a:gd name="T50" fmla="*/ 23 w 221"/>
                    <a:gd name="T51" fmla="*/ 17 h 234"/>
                    <a:gd name="T52" fmla="*/ 9 w 221"/>
                    <a:gd name="T53" fmla="*/ 18 h 234"/>
                    <a:gd name="T54" fmla="*/ 5 w 221"/>
                    <a:gd name="T55" fmla="*/ 24 h 234"/>
                    <a:gd name="T56" fmla="*/ 2 w 221"/>
                    <a:gd name="T57" fmla="*/ 38 h 234"/>
                    <a:gd name="T58" fmla="*/ 4 w 221"/>
                    <a:gd name="T59" fmla="*/ 53 h 234"/>
                    <a:gd name="T60" fmla="*/ 18 w 221"/>
                    <a:gd name="T61" fmla="*/ 64 h 234"/>
                    <a:gd name="T62" fmla="*/ 18 w 221"/>
                    <a:gd name="T63" fmla="*/ 74 h 234"/>
                    <a:gd name="T64" fmla="*/ 31 w 221"/>
                    <a:gd name="T65" fmla="*/ 64 h 234"/>
                    <a:gd name="T66" fmla="*/ 47 w 221"/>
                    <a:gd name="T67" fmla="*/ 59 h 234"/>
                    <a:gd name="T68" fmla="*/ 61 w 221"/>
                    <a:gd name="T69" fmla="*/ 67 h 234"/>
                    <a:gd name="T70" fmla="*/ 70 w 221"/>
                    <a:gd name="T71" fmla="*/ 87 h 234"/>
                    <a:gd name="T72" fmla="*/ 77 w 221"/>
                    <a:gd name="T73" fmla="*/ 101 h 234"/>
                    <a:gd name="T74" fmla="*/ 88 w 221"/>
                    <a:gd name="T75" fmla="*/ 112 h 234"/>
                    <a:gd name="T76" fmla="*/ 101 w 221"/>
                    <a:gd name="T77" fmla="*/ 125 h 234"/>
                    <a:gd name="T78" fmla="*/ 115 w 221"/>
                    <a:gd name="T79" fmla="*/ 139 h 234"/>
                    <a:gd name="T80" fmla="*/ 130 w 221"/>
                    <a:gd name="T81" fmla="*/ 142 h 234"/>
                    <a:gd name="T82" fmla="*/ 143 w 221"/>
                    <a:gd name="T83" fmla="*/ 153 h 234"/>
                    <a:gd name="T84" fmla="*/ 152 w 221"/>
                    <a:gd name="T85" fmla="*/ 160 h 234"/>
                    <a:gd name="T86" fmla="*/ 158 w 221"/>
                    <a:gd name="T87" fmla="*/ 172 h 234"/>
                    <a:gd name="T88" fmla="*/ 168 w 221"/>
                    <a:gd name="T89" fmla="*/ 177 h 234"/>
                    <a:gd name="T90" fmla="*/ 175 w 221"/>
                    <a:gd name="T91" fmla="*/ 198 h 234"/>
                    <a:gd name="T92" fmla="*/ 174 w 221"/>
                    <a:gd name="T93" fmla="*/ 211 h 234"/>
                    <a:gd name="T94" fmla="*/ 168 w 221"/>
                    <a:gd name="T95" fmla="*/ 226 h 234"/>
                    <a:gd name="T96" fmla="*/ 179 w 221"/>
                    <a:gd name="T97" fmla="*/ 226 h 234"/>
                    <a:gd name="T98" fmla="*/ 185 w 221"/>
                    <a:gd name="T99" fmla="*/ 210 h 234"/>
                    <a:gd name="T100" fmla="*/ 196 w 221"/>
                    <a:gd name="T101" fmla="*/ 199 h 234"/>
                    <a:gd name="T102" fmla="*/ 188 w 221"/>
                    <a:gd name="T103" fmla="*/ 186 h 234"/>
                    <a:gd name="T104" fmla="*/ 185 w 221"/>
                    <a:gd name="T105" fmla="*/ 177 h 234"/>
                    <a:gd name="T106" fmla="*/ 193 w 221"/>
                    <a:gd name="T107" fmla="*/ 162 h 234"/>
                    <a:gd name="T108" fmla="*/ 200 w 221"/>
                    <a:gd name="T109" fmla="*/ 167 h 234"/>
                    <a:gd name="T110" fmla="*/ 212 w 221"/>
                    <a:gd name="T111" fmla="*/ 177 h 234"/>
                    <a:gd name="T112" fmla="*/ 220 w 221"/>
                    <a:gd name="T113" fmla="*/ 170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21" h="234">
                      <a:moveTo>
                        <a:pt x="220" y="170"/>
                      </a:moveTo>
                      <a:cubicBezTo>
                        <a:pt x="219" y="167"/>
                        <a:pt x="218" y="166"/>
                        <a:pt x="216" y="165"/>
                      </a:cubicBezTo>
                      <a:cubicBezTo>
                        <a:pt x="214" y="163"/>
                        <a:pt x="211" y="161"/>
                        <a:pt x="210" y="159"/>
                      </a:cubicBezTo>
                      <a:cubicBezTo>
                        <a:pt x="210" y="158"/>
                        <a:pt x="207" y="156"/>
                        <a:pt x="205" y="155"/>
                      </a:cubicBezTo>
                      <a:cubicBezTo>
                        <a:pt x="203" y="155"/>
                        <a:pt x="201" y="153"/>
                        <a:pt x="198" y="151"/>
                      </a:cubicBezTo>
                      <a:cubicBezTo>
                        <a:pt x="195" y="148"/>
                        <a:pt x="191" y="146"/>
                        <a:pt x="188" y="145"/>
                      </a:cubicBezTo>
                      <a:cubicBezTo>
                        <a:pt x="185" y="143"/>
                        <a:pt x="181" y="141"/>
                        <a:pt x="179" y="140"/>
                      </a:cubicBezTo>
                      <a:cubicBezTo>
                        <a:pt x="177" y="139"/>
                        <a:pt x="173" y="137"/>
                        <a:pt x="172" y="135"/>
                      </a:cubicBezTo>
                      <a:cubicBezTo>
                        <a:pt x="170" y="134"/>
                        <a:pt x="171" y="133"/>
                        <a:pt x="172" y="132"/>
                      </a:cubicBezTo>
                      <a:cubicBezTo>
                        <a:pt x="173" y="131"/>
                        <a:pt x="175" y="129"/>
                        <a:pt x="176" y="128"/>
                      </a:cubicBezTo>
                      <a:cubicBezTo>
                        <a:pt x="176" y="127"/>
                        <a:pt x="176" y="124"/>
                        <a:pt x="175" y="124"/>
                      </a:cubicBezTo>
                      <a:cubicBezTo>
                        <a:pt x="173" y="123"/>
                        <a:pt x="171" y="123"/>
                        <a:pt x="168" y="124"/>
                      </a:cubicBezTo>
                      <a:cubicBezTo>
                        <a:pt x="166" y="124"/>
                        <a:pt x="161" y="124"/>
                        <a:pt x="160" y="124"/>
                      </a:cubicBezTo>
                      <a:cubicBezTo>
                        <a:pt x="158" y="123"/>
                        <a:pt x="156" y="123"/>
                        <a:pt x="154" y="122"/>
                      </a:cubicBezTo>
                      <a:cubicBezTo>
                        <a:pt x="152" y="121"/>
                        <a:pt x="150" y="120"/>
                        <a:pt x="149" y="118"/>
                      </a:cubicBezTo>
                      <a:cubicBezTo>
                        <a:pt x="148" y="117"/>
                        <a:pt x="147" y="116"/>
                        <a:pt x="145" y="115"/>
                      </a:cubicBezTo>
                      <a:cubicBezTo>
                        <a:pt x="144" y="113"/>
                        <a:pt x="141" y="110"/>
                        <a:pt x="138" y="108"/>
                      </a:cubicBezTo>
                      <a:cubicBezTo>
                        <a:pt x="136" y="105"/>
                        <a:pt x="134" y="99"/>
                        <a:pt x="132" y="95"/>
                      </a:cubicBezTo>
                      <a:cubicBezTo>
                        <a:pt x="131" y="90"/>
                        <a:pt x="128" y="83"/>
                        <a:pt x="127" y="81"/>
                      </a:cubicBezTo>
                      <a:cubicBezTo>
                        <a:pt x="127" y="79"/>
                        <a:pt x="126" y="78"/>
                        <a:pt x="123" y="77"/>
                      </a:cubicBezTo>
                      <a:cubicBezTo>
                        <a:pt x="120" y="76"/>
                        <a:pt x="118" y="73"/>
                        <a:pt x="116" y="72"/>
                      </a:cubicBezTo>
                      <a:cubicBezTo>
                        <a:pt x="115" y="70"/>
                        <a:pt x="111" y="69"/>
                        <a:pt x="110" y="68"/>
                      </a:cubicBezTo>
                      <a:cubicBezTo>
                        <a:pt x="109" y="68"/>
                        <a:pt x="108" y="65"/>
                        <a:pt x="106" y="63"/>
                      </a:cubicBezTo>
                      <a:cubicBezTo>
                        <a:pt x="105" y="61"/>
                        <a:pt x="104" y="61"/>
                        <a:pt x="104" y="58"/>
                      </a:cubicBezTo>
                      <a:cubicBezTo>
                        <a:pt x="103" y="55"/>
                        <a:pt x="103" y="52"/>
                        <a:pt x="102" y="50"/>
                      </a:cubicBezTo>
                      <a:cubicBezTo>
                        <a:pt x="102" y="48"/>
                        <a:pt x="102" y="46"/>
                        <a:pt x="103" y="46"/>
                      </a:cubicBezTo>
                      <a:cubicBezTo>
                        <a:pt x="104" y="47"/>
                        <a:pt x="105" y="48"/>
                        <a:pt x="106" y="46"/>
                      </a:cubicBezTo>
                      <a:cubicBezTo>
                        <a:pt x="107" y="45"/>
                        <a:pt x="108" y="45"/>
                        <a:pt x="108" y="44"/>
                      </a:cubicBezTo>
                      <a:cubicBezTo>
                        <a:pt x="108" y="43"/>
                        <a:pt x="106" y="41"/>
                        <a:pt x="105" y="41"/>
                      </a:cubicBezTo>
                      <a:cubicBezTo>
                        <a:pt x="104" y="41"/>
                        <a:pt x="103" y="39"/>
                        <a:pt x="103" y="38"/>
                      </a:cubicBezTo>
                      <a:cubicBezTo>
                        <a:pt x="103" y="36"/>
                        <a:pt x="102" y="37"/>
                        <a:pt x="102" y="37"/>
                      </a:cubicBezTo>
                      <a:cubicBezTo>
                        <a:pt x="101" y="37"/>
                        <a:pt x="101" y="35"/>
                        <a:pt x="101" y="35"/>
                      </a:cubicBezTo>
                      <a:cubicBezTo>
                        <a:pt x="101" y="34"/>
                        <a:pt x="102" y="32"/>
                        <a:pt x="102" y="31"/>
                      </a:cubicBezTo>
                      <a:cubicBezTo>
                        <a:pt x="102" y="30"/>
                        <a:pt x="104" y="29"/>
                        <a:pt x="105" y="29"/>
                      </a:cubicBezTo>
                      <a:cubicBezTo>
                        <a:pt x="106" y="29"/>
                        <a:pt x="105" y="30"/>
                        <a:pt x="106" y="30"/>
                      </a:cubicBezTo>
                      <a:cubicBezTo>
                        <a:pt x="107" y="30"/>
                        <a:pt x="109" y="30"/>
                        <a:pt x="110" y="29"/>
                      </a:cubicBezTo>
                      <a:cubicBezTo>
                        <a:pt x="111" y="28"/>
                        <a:pt x="113" y="26"/>
                        <a:pt x="115" y="26"/>
                      </a:cubicBezTo>
                      <a:cubicBezTo>
                        <a:pt x="117" y="26"/>
                        <a:pt x="118" y="25"/>
                        <a:pt x="118" y="25"/>
                      </a:cubicBezTo>
                      <a:cubicBezTo>
                        <a:pt x="118" y="24"/>
                        <a:pt x="118" y="23"/>
                        <a:pt x="119" y="22"/>
                      </a:cubicBezTo>
                      <a:cubicBezTo>
                        <a:pt x="120" y="21"/>
                        <a:pt x="122" y="23"/>
                        <a:pt x="123" y="24"/>
                      </a:cubicBezTo>
                      <a:cubicBezTo>
                        <a:pt x="123" y="25"/>
                        <a:pt x="124" y="24"/>
                        <a:pt x="125" y="22"/>
                      </a:cubicBezTo>
                      <a:cubicBezTo>
                        <a:pt x="126" y="21"/>
                        <a:pt x="127" y="22"/>
                        <a:pt x="127" y="22"/>
                      </a:cubicBezTo>
                      <a:cubicBezTo>
                        <a:pt x="127" y="21"/>
                        <a:pt x="127" y="20"/>
                        <a:pt x="126" y="20"/>
                      </a:cubicBezTo>
                      <a:cubicBezTo>
                        <a:pt x="126" y="19"/>
                        <a:pt x="126" y="17"/>
                        <a:pt x="125" y="15"/>
                      </a:cubicBezTo>
                      <a:cubicBezTo>
                        <a:pt x="125" y="13"/>
                        <a:pt x="126" y="13"/>
                        <a:pt x="128" y="12"/>
                      </a:cubicBezTo>
                      <a:cubicBezTo>
                        <a:pt x="129" y="11"/>
                        <a:pt x="128" y="10"/>
                        <a:pt x="126" y="10"/>
                      </a:cubicBezTo>
                      <a:cubicBezTo>
                        <a:pt x="126" y="10"/>
                        <a:pt x="125" y="10"/>
                        <a:pt x="125" y="10"/>
                      </a:cubicBezTo>
                      <a:cubicBezTo>
                        <a:pt x="122" y="10"/>
                        <a:pt x="114" y="10"/>
                        <a:pt x="111" y="10"/>
                      </a:cubicBezTo>
                      <a:cubicBezTo>
                        <a:pt x="108" y="10"/>
                        <a:pt x="106" y="7"/>
                        <a:pt x="106" y="5"/>
                      </a:cubicBezTo>
                      <a:cubicBezTo>
                        <a:pt x="105" y="4"/>
                        <a:pt x="104" y="4"/>
                        <a:pt x="104" y="2"/>
                      </a:cubicBezTo>
                      <a:cubicBezTo>
                        <a:pt x="105" y="0"/>
                        <a:pt x="101" y="2"/>
                        <a:pt x="99" y="4"/>
                      </a:cubicBezTo>
                      <a:cubicBezTo>
                        <a:pt x="97" y="6"/>
                        <a:pt x="94" y="4"/>
                        <a:pt x="92" y="5"/>
                      </a:cubicBezTo>
                      <a:cubicBezTo>
                        <a:pt x="89" y="6"/>
                        <a:pt x="87" y="8"/>
                        <a:pt x="86" y="10"/>
                      </a:cubicBezTo>
                      <a:cubicBezTo>
                        <a:pt x="85" y="12"/>
                        <a:pt x="83" y="12"/>
                        <a:pt x="82" y="12"/>
                      </a:cubicBezTo>
                      <a:cubicBezTo>
                        <a:pt x="81" y="11"/>
                        <a:pt x="78" y="10"/>
                        <a:pt x="76" y="10"/>
                      </a:cubicBezTo>
                      <a:cubicBezTo>
                        <a:pt x="76" y="10"/>
                        <a:pt x="76" y="10"/>
                        <a:pt x="76" y="10"/>
                      </a:cubicBezTo>
                      <a:cubicBezTo>
                        <a:pt x="76" y="10"/>
                        <a:pt x="76" y="8"/>
                        <a:pt x="75" y="7"/>
                      </a:cubicBezTo>
                      <a:cubicBezTo>
                        <a:pt x="74" y="7"/>
                        <a:pt x="75" y="6"/>
                        <a:pt x="72" y="9"/>
                      </a:cubicBezTo>
                      <a:cubicBezTo>
                        <a:pt x="70" y="11"/>
                        <a:pt x="68" y="13"/>
                        <a:pt x="68" y="11"/>
                      </a:cubicBezTo>
                      <a:cubicBezTo>
                        <a:pt x="67" y="9"/>
                        <a:pt x="67" y="11"/>
                        <a:pt x="66" y="10"/>
                      </a:cubicBezTo>
                      <a:cubicBezTo>
                        <a:pt x="65" y="9"/>
                        <a:pt x="65" y="8"/>
                        <a:pt x="64" y="7"/>
                      </a:cubicBezTo>
                      <a:cubicBezTo>
                        <a:pt x="64" y="8"/>
                        <a:pt x="63" y="8"/>
                        <a:pt x="63" y="9"/>
                      </a:cubicBezTo>
                      <a:cubicBezTo>
                        <a:pt x="62" y="11"/>
                        <a:pt x="61" y="7"/>
                        <a:pt x="60" y="7"/>
                      </a:cubicBezTo>
                      <a:cubicBezTo>
                        <a:pt x="59" y="6"/>
                        <a:pt x="58" y="6"/>
                        <a:pt x="56" y="7"/>
                      </a:cubicBezTo>
                      <a:cubicBezTo>
                        <a:pt x="54" y="9"/>
                        <a:pt x="53" y="8"/>
                        <a:pt x="52" y="7"/>
                      </a:cubicBezTo>
                      <a:cubicBezTo>
                        <a:pt x="51" y="6"/>
                        <a:pt x="51" y="2"/>
                        <a:pt x="49" y="3"/>
                      </a:cubicBezTo>
                      <a:cubicBezTo>
                        <a:pt x="48" y="3"/>
                        <a:pt x="49" y="6"/>
                        <a:pt x="48" y="8"/>
                      </a:cubicBezTo>
                      <a:cubicBezTo>
                        <a:pt x="47" y="10"/>
                        <a:pt x="45" y="11"/>
                        <a:pt x="44" y="14"/>
                      </a:cubicBezTo>
                      <a:cubicBezTo>
                        <a:pt x="44" y="16"/>
                        <a:pt x="44" y="18"/>
                        <a:pt x="42" y="19"/>
                      </a:cubicBezTo>
                      <a:cubicBezTo>
                        <a:pt x="40" y="20"/>
                        <a:pt x="40" y="18"/>
                        <a:pt x="40" y="16"/>
                      </a:cubicBezTo>
                      <a:cubicBezTo>
                        <a:pt x="39" y="14"/>
                        <a:pt x="38" y="13"/>
                        <a:pt x="37" y="13"/>
                      </a:cubicBezTo>
                      <a:cubicBezTo>
                        <a:pt x="36" y="13"/>
                        <a:pt x="34" y="11"/>
                        <a:pt x="33" y="10"/>
                      </a:cubicBezTo>
                      <a:cubicBezTo>
                        <a:pt x="32" y="8"/>
                        <a:pt x="32" y="7"/>
                        <a:pt x="32" y="5"/>
                      </a:cubicBezTo>
                      <a:cubicBezTo>
                        <a:pt x="32" y="4"/>
                        <a:pt x="29" y="7"/>
                        <a:pt x="27" y="9"/>
                      </a:cubicBezTo>
                      <a:cubicBezTo>
                        <a:pt x="27" y="9"/>
                        <a:pt x="26" y="9"/>
                        <a:pt x="26" y="9"/>
                      </a:cubicBezTo>
                      <a:cubicBezTo>
                        <a:pt x="26" y="10"/>
                        <a:pt x="27" y="11"/>
                        <a:pt x="27" y="11"/>
                      </a:cubicBezTo>
                      <a:cubicBezTo>
                        <a:pt x="27" y="12"/>
                        <a:pt x="27" y="12"/>
                        <a:pt x="27" y="12"/>
                      </a:cubicBezTo>
                      <a:cubicBezTo>
                        <a:pt x="26" y="14"/>
                        <a:pt x="24" y="15"/>
                        <a:pt x="23" y="17"/>
                      </a:cubicBezTo>
                      <a:cubicBezTo>
                        <a:pt x="21" y="19"/>
                        <a:pt x="21" y="18"/>
                        <a:pt x="19" y="17"/>
                      </a:cubicBezTo>
                      <a:cubicBezTo>
                        <a:pt x="17" y="16"/>
                        <a:pt x="15" y="16"/>
                        <a:pt x="12" y="18"/>
                      </a:cubicBezTo>
                      <a:cubicBezTo>
                        <a:pt x="10" y="20"/>
                        <a:pt x="10" y="18"/>
                        <a:pt x="9" y="18"/>
                      </a:cubicBezTo>
                      <a:cubicBezTo>
                        <a:pt x="8" y="18"/>
                        <a:pt x="7" y="18"/>
                        <a:pt x="7" y="18"/>
                      </a:cubicBezTo>
                      <a:cubicBezTo>
                        <a:pt x="7" y="18"/>
                        <a:pt x="6" y="19"/>
                        <a:pt x="5" y="19"/>
                      </a:cubicBezTo>
                      <a:cubicBezTo>
                        <a:pt x="4" y="21"/>
                        <a:pt x="3" y="22"/>
                        <a:pt x="5" y="24"/>
                      </a:cubicBezTo>
                      <a:cubicBezTo>
                        <a:pt x="7" y="27"/>
                        <a:pt x="8" y="28"/>
                        <a:pt x="8" y="30"/>
                      </a:cubicBezTo>
                      <a:cubicBezTo>
                        <a:pt x="9" y="33"/>
                        <a:pt x="9" y="33"/>
                        <a:pt x="8" y="35"/>
                      </a:cubicBezTo>
                      <a:cubicBezTo>
                        <a:pt x="7" y="37"/>
                        <a:pt x="4" y="38"/>
                        <a:pt x="2" y="38"/>
                      </a:cubicBezTo>
                      <a:cubicBezTo>
                        <a:pt x="0" y="39"/>
                        <a:pt x="0" y="40"/>
                        <a:pt x="1" y="43"/>
                      </a:cubicBezTo>
                      <a:cubicBezTo>
                        <a:pt x="3" y="45"/>
                        <a:pt x="5" y="46"/>
                        <a:pt x="6" y="47"/>
                      </a:cubicBezTo>
                      <a:cubicBezTo>
                        <a:pt x="8" y="49"/>
                        <a:pt x="6" y="52"/>
                        <a:pt x="4" y="53"/>
                      </a:cubicBezTo>
                      <a:cubicBezTo>
                        <a:pt x="3" y="55"/>
                        <a:pt x="4" y="58"/>
                        <a:pt x="6" y="60"/>
                      </a:cubicBezTo>
                      <a:cubicBezTo>
                        <a:pt x="8" y="63"/>
                        <a:pt x="10" y="64"/>
                        <a:pt x="13" y="64"/>
                      </a:cubicBezTo>
                      <a:cubicBezTo>
                        <a:pt x="16" y="64"/>
                        <a:pt x="17" y="62"/>
                        <a:pt x="18" y="64"/>
                      </a:cubicBezTo>
                      <a:cubicBezTo>
                        <a:pt x="19" y="67"/>
                        <a:pt x="18" y="68"/>
                        <a:pt x="17" y="69"/>
                      </a:cubicBezTo>
                      <a:cubicBezTo>
                        <a:pt x="15" y="71"/>
                        <a:pt x="15" y="74"/>
                        <a:pt x="15" y="74"/>
                      </a:cubicBezTo>
                      <a:cubicBezTo>
                        <a:pt x="15" y="74"/>
                        <a:pt x="16" y="74"/>
                        <a:pt x="18" y="74"/>
                      </a:cubicBezTo>
                      <a:cubicBezTo>
                        <a:pt x="20" y="73"/>
                        <a:pt x="23" y="72"/>
                        <a:pt x="25" y="71"/>
                      </a:cubicBezTo>
                      <a:cubicBezTo>
                        <a:pt x="27" y="70"/>
                        <a:pt x="28" y="68"/>
                        <a:pt x="29" y="67"/>
                      </a:cubicBezTo>
                      <a:cubicBezTo>
                        <a:pt x="29" y="66"/>
                        <a:pt x="29" y="65"/>
                        <a:pt x="31" y="64"/>
                      </a:cubicBezTo>
                      <a:cubicBezTo>
                        <a:pt x="32" y="63"/>
                        <a:pt x="34" y="59"/>
                        <a:pt x="35" y="58"/>
                      </a:cubicBezTo>
                      <a:cubicBezTo>
                        <a:pt x="37" y="58"/>
                        <a:pt x="39" y="57"/>
                        <a:pt x="41" y="58"/>
                      </a:cubicBezTo>
                      <a:cubicBezTo>
                        <a:pt x="42" y="59"/>
                        <a:pt x="46" y="59"/>
                        <a:pt x="47" y="59"/>
                      </a:cubicBezTo>
                      <a:cubicBezTo>
                        <a:pt x="48" y="60"/>
                        <a:pt x="49" y="61"/>
                        <a:pt x="50" y="62"/>
                      </a:cubicBezTo>
                      <a:cubicBezTo>
                        <a:pt x="52" y="63"/>
                        <a:pt x="53" y="64"/>
                        <a:pt x="54" y="65"/>
                      </a:cubicBezTo>
                      <a:cubicBezTo>
                        <a:pt x="55" y="66"/>
                        <a:pt x="58" y="66"/>
                        <a:pt x="61" y="67"/>
                      </a:cubicBezTo>
                      <a:cubicBezTo>
                        <a:pt x="63" y="68"/>
                        <a:pt x="64" y="70"/>
                        <a:pt x="65" y="71"/>
                      </a:cubicBezTo>
                      <a:cubicBezTo>
                        <a:pt x="66" y="73"/>
                        <a:pt x="66" y="77"/>
                        <a:pt x="66" y="80"/>
                      </a:cubicBezTo>
                      <a:cubicBezTo>
                        <a:pt x="67" y="82"/>
                        <a:pt x="69" y="85"/>
                        <a:pt x="70" y="87"/>
                      </a:cubicBezTo>
                      <a:cubicBezTo>
                        <a:pt x="72" y="89"/>
                        <a:pt x="71" y="93"/>
                        <a:pt x="71" y="95"/>
                      </a:cubicBezTo>
                      <a:cubicBezTo>
                        <a:pt x="71" y="97"/>
                        <a:pt x="74" y="96"/>
                        <a:pt x="75" y="97"/>
                      </a:cubicBezTo>
                      <a:cubicBezTo>
                        <a:pt x="75" y="97"/>
                        <a:pt x="75" y="100"/>
                        <a:pt x="77" y="101"/>
                      </a:cubicBezTo>
                      <a:cubicBezTo>
                        <a:pt x="78" y="102"/>
                        <a:pt x="81" y="105"/>
                        <a:pt x="82" y="106"/>
                      </a:cubicBezTo>
                      <a:cubicBezTo>
                        <a:pt x="83" y="107"/>
                        <a:pt x="82" y="109"/>
                        <a:pt x="82" y="111"/>
                      </a:cubicBezTo>
                      <a:cubicBezTo>
                        <a:pt x="82" y="113"/>
                        <a:pt x="86" y="111"/>
                        <a:pt x="88" y="112"/>
                      </a:cubicBezTo>
                      <a:cubicBezTo>
                        <a:pt x="91" y="114"/>
                        <a:pt x="91" y="114"/>
                        <a:pt x="93" y="117"/>
                      </a:cubicBezTo>
                      <a:cubicBezTo>
                        <a:pt x="94" y="119"/>
                        <a:pt x="95" y="121"/>
                        <a:pt x="96" y="121"/>
                      </a:cubicBezTo>
                      <a:cubicBezTo>
                        <a:pt x="97" y="121"/>
                        <a:pt x="100" y="123"/>
                        <a:pt x="101" y="125"/>
                      </a:cubicBezTo>
                      <a:cubicBezTo>
                        <a:pt x="102" y="126"/>
                        <a:pt x="102" y="129"/>
                        <a:pt x="104" y="130"/>
                      </a:cubicBezTo>
                      <a:cubicBezTo>
                        <a:pt x="106" y="131"/>
                        <a:pt x="108" y="135"/>
                        <a:pt x="110" y="136"/>
                      </a:cubicBezTo>
                      <a:cubicBezTo>
                        <a:pt x="111" y="138"/>
                        <a:pt x="113" y="138"/>
                        <a:pt x="115" y="139"/>
                      </a:cubicBezTo>
                      <a:cubicBezTo>
                        <a:pt x="117" y="140"/>
                        <a:pt x="118" y="142"/>
                        <a:pt x="120" y="142"/>
                      </a:cubicBezTo>
                      <a:cubicBezTo>
                        <a:pt x="121" y="141"/>
                        <a:pt x="124" y="141"/>
                        <a:pt x="125" y="142"/>
                      </a:cubicBezTo>
                      <a:cubicBezTo>
                        <a:pt x="127" y="143"/>
                        <a:pt x="129" y="142"/>
                        <a:pt x="130" y="142"/>
                      </a:cubicBezTo>
                      <a:cubicBezTo>
                        <a:pt x="131" y="142"/>
                        <a:pt x="133" y="145"/>
                        <a:pt x="134" y="147"/>
                      </a:cubicBezTo>
                      <a:cubicBezTo>
                        <a:pt x="135" y="149"/>
                        <a:pt x="137" y="152"/>
                        <a:pt x="137" y="153"/>
                      </a:cubicBezTo>
                      <a:cubicBezTo>
                        <a:pt x="138" y="154"/>
                        <a:pt x="141" y="153"/>
                        <a:pt x="143" y="153"/>
                      </a:cubicBezTo>
                      <a:cubicBezTo>
                        <a:pt x="145" y="154"/>
                        <a:pt x="143" y="158"/>
                        <a:pt x="142" y="160"/>
                      </a:cubicBezTo>
                      <a:cubicBezTo>
                        <a:pt x="142" y="161"/>
                        <a:pt x="145" y="159"/>
                        <a:pt x="147" y="158"/>
                      </a:cubicBezTo>
                      <a:cubicBezTo>
                        <a:pt x="148" y="157"/>
                        <a:pt x="150" y="157"/>
                        <a:pt x="152" y="160"/>
                      </a:cubicBezTo>
                      <a:cubicBezTo>
                        <a:pt x="154" y="163"/>
                        <a:pt x="154" y="166"/>
                        <a:pt x="154" y="167"/>
                      </a:cubicBezTo>
                      <a:cubicBezTo>
                        <a:pt x="153" y="169"/>
                        <a:pt x="154" y="169"/>
                        <a:pt x="155" y="171"/>
                      </a:cubicBezTo>
                      <a:cubicBezTo>
                        <a:pt x="155" y="172"/>
                        <a:pt x="156" y="171"/>
                        <a:pt x="158" y="172"/>
                      </a:cubicBezTo>
                      <a:cubicBezTo>
                        <a:pt x="160" y="173"/>
                        <a:pt x="161" y="177"/>
                        <a:pt x="162" y="176"/>
                      </a:cubicBezTo>
                      <a:cubicBezTo>
                        <a:pt x="163" y="176"/>
                        <a:pt x="165" y="174"/>
                        <a:pt x="166" y="174"/>
                      </a:cubicBezTo>
                      <a:cubicBezTo>
                        <a:pt x="166" y="175"/>
                        <a:pt x="168" y="176"/>
                        <a:pt x="168" y="177"/>
                      </a:cubicBezTo>
                      <a:cubicBezTo>
                        <a:pt x="169" y="178"/>
                        <a:pt x="170" y="183"/>
                        <a:pt x="171" y="184"/>
                      </a:cubicBezTo>
                      <a:cubicBezTo>
                        <a:pt x="171" y="186"/>
                        <a:pt x="172" y="189"/>
                        <a:pt x="173" y="191"/>
                      </a:cubicBezTo>
                      <a:cubicBezTo>
                        <a:pt x="175" y="193"/>
                        <a:pt x="175" y="196"/>
                        <a:pt x="175" y="198"/>
                      </a:cubicBezTo>
                      <a:cubicBezTo>
                        <a:pt x="175" y="200"/>
                        <a:pt x="176" y="202"/>
                        <a:pt x="177" y="204"/>
                      </a:cubicBezTo>
                      <a:cubicBezTo>
                        <a:pt x="178" y="206"/>
                        <a:pt x="179" y="208"/>
                        <a:pt x="178" y="209"/>
                      </a:cubicBezTo>
                      <a:cubicBezTo>
                        <a:pt x="178" y="211"/>
                        <a:pt x="175" y="211"/>
                        <a:pt x="174" y="211"/>
                      </a:cubicBezTo>
                      <a:cubicBezTo>
                        <a:pt x="172" y="211"/>
                        <a:pt x="172" y="213"/>
                        <a:pt x="173" y="215"/>
                      </a:cubicBezTo>
                      <a:cubicBezTo>
                        <a:pt x="174" y="217"/>
                        <a:pt x="172" y="221"/>
                        <a:pt x="170" y="222"/>
                      </a:cubicBezTo>
                      <a:cubicBezTo>
                        <a:pt x="169" y="224"/>
                        <a:pt x="168" y="224"/>
                        <a:pt x="168" y="226"/>
                      </a:cubicBezTo>
                      <a:cubicBezTo>
                        <a:pt x="167" y="229"/>
                        <a:pt x="169" y="232"/>
                        <a:pt x="169" y="233"/>
                      </a:cubicBezTo>
                      <a:cubicBezTo>
                        <a:pt x="170" y="234"/>
                        <a:pt x="175" y="233"/>
                        <a:pt x="176" y="232"/>
                      </a:cubicBezTo>
                      <a:cubicBezTo>
                        <a:pt x="177" y="232"/>
                        <a:pt x="178" y="229"/>
                        <a:pt x="179" y="226"/>
                      </a:cubicBezTo>
                      <a:cubicBezTo>
                        <a:pt x="180" y="223"/>
                        <a:pt x="183" y="222"/>
                        <a:pt x="184" y="220"/>
                      </a:cubicBezTo>
                      <a:cubicBezTo>
                        <a:pt x="186" y="219"/>
                        <a:pt x="185" y="216"/>
                        <a:pt x="185" y="214"/>
                      </a:cubicBezTo>
                      <a:cubicBezTo>
                        <a:pt x="185" y="212"/>
                        <a:pt x="184" y="211"/>
                        <a:pt x="185" y="210"/>
                      </a:cubicBezTo>
                      <a:cubicBezTo>
                        <a:pt x="185" y="209"/>
                        <a:pt x="187" y="208"/>
                        <a:pt x="189" y="206"/>
                      </a:cubicBezTo>
                      <a:cubicBezTo>
                        <a:pt x="192" y="204"/>
                        <a:pt x="195" y="206"/>
                        <a:pt x="196" y="205"/>
                      </a:cubicBezTo>
                      <a:cubicBezTo>
                        <a:pt x="196" y="205"/>
                        <a:pt x="196" y="202"/>
                        <a:pt x="196" y="199"/>
                      </a:cubicBezTo>
                      <a:cubicBezTo>
                        <a:pt x="196" y="195"/>
                        <a:pt x="195" y="193"/>
                        <a:pt x="195" y="192"/>
                      </a:cubicBezTo>
                      <a:cubicBezTo>
                        <a:pt x="195" y="190"/>
                        <a:pt x="193" y="190"/>
                        <a:pt x="192" y="189"/>
                      </a:cubicBezTo>
                      <a:cubicBezTo>
                        <a:pt x="190" y="189"/>
                        <a:pt x="189" y="187"/>
                        <a:pt x="188" y="186"/>
                      </a:cubicBezTo>
                      <a:cubicBezTo>
                        <a:pt x="187" y="186"/>
                        <a:pt x="186" y="187"/>
                        <a:pt x="185" y="185"/>
                      </a:cubicBezTo>
                      <a:cubicBezTo>
                        <a:pt x="183" y="183"/>
                        <a:pt x="183" y="183"/>
                        <a:pt x="183" y="181"/>
                      </a:cubicBezTo>
                      <a:cubicBezTo>
                        <a:pt x="184" y="179"/>
                        <a:pt x="185" y="178"/>
                        <a:pt x="185" y="177"/>
                      </a:cubicBezTo>
                      <a:cubicBezTo>
                        <a:pt x="185" y="175"/>
                        <a:pt x="185" y="174"/>
                        <a:pt x="186" y="173"/>
                      </a:cubicBezTo>
                      <a:cubicBezTo>
                        <a:pt x="187" y="172"/>
                        <a:pt x="189" y="168"/>
                        <a:pt x="189" y="168"/>
                      </a:cubicBezTo>
                      <a:cubicBezTo>
                        <a:pt x="189" y="168"/>
                        <a:pt x="192" y="163"/>
                        <a:pt x="193" y="162"/>
                      </a:cubicBezTo>
                      <a:cubicBezTo>
                        <a:pt x="194" y="162"/>
                        <a:pt x="195" y="162"/>
                        <a:pt x="196" y="162"/>
                      </a:cubicBezTo>
                      <a:cubicBezTo>
                        <a:pt x="198" y="163"/>
                        <a:pt x="197" y="163"/>
                        <a:pt x="197" y="165"/>
                      </a:cubicBezTo>
                      <a:cubicBezTo>
                        <a:pt x="197" y="167"/>
                        <a:pt x="199" y="167"/>
                        <a:pt x="200" y="167"/>
                      </a:cubicBezTo>
                      <a:cubicBezTo>
                        <a:pt x="202" y="168"/>
                        <a:pt x="206" y="168"/>
                        <a:pt x="207" y="168"/>
                      </a:cubicBezTo>
                      <a:cubicBezTo>
                        <a:pt x="209" y="168"/>
                        <a:pt x="210" y="170"/>
                        <a:pt x="210" y="172"/>
                      </a:cubicBezTo>
                      <a:cubicBezTo>
                        <a:pt x="211" y="173"/>
                        <a:pt x="212" y="175"/>
                        <a:pt x="212" y="177"/>
                      </a:cubicBezTo>
                      <a:cubicBezTo>
                        <a:pt x="212" y="179"/>
                        <a:pt x="214" y="180"/>
                        <a:pt x="215" y="180"/>
                      </a:cubicBezTo>
                      <a:cubicBezTo>
                        <a:pt x="217" y="181"/>
                        <a:pt x="219" y="180"/>
                        <a:pt x="219" y="178"/>
                      </a:cubicBezTo>
                      <a:cubicBezTo>
                        <a:pt x="220" y="175"/>
                        <a:pt x="221" y="173"/>
                        <a:pt x="220" y="17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27" name="Freeform 204">
                <a:extLst>
                  <a:ext uri="{FF2B5EF4-FFF2-40B4-BE49-F238E27FC236}">
                    <a16:creationId xmlns:a16="http://schemas.microsoft.com/office/drawing/2014/main" id="{96D08308-3533-EE15-36CA-51176E10AA7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84097" y="4868573"/>
                <a:ext cx="306541" cy="178687"/>
              </a:xfrm>
              <a:custGeom>
                <a:avLst/>
                <a:gdLst>
                  <a:gd name="T0" fmla="*/ 71 w 76"/>
                  <a:gd name="T1" fmla="*/ 23 h 44"/>
                  <a:gd name="T2" fmla="*/ 70 w 76"/>
                  <a:gd name="T3" fmla="*/ 19 h 44"/>
                  <a:gd name="T4" fmla="*/ 68 w 76"/>
                  <a:gd name="T5" fmla="*/ 18 h 44"/>
                  <a:gd name="T6" fmla="*/ 66 w 76"/>
                  <a:gd name="T7" fmla="*/ 17 h 44"/>
                  <a:gd name="T8" fmla="*/ 64 w 76"/>
                  <a:gd name="T9" fmla="*/ 16 h 44"/>
                  <a:gd name="T10" fmla="*/ 61 w 76"/>
                  <a:gd name="T11" fmla="*/ 15 h 44"/>
                  <a:gd name="T12" fmla="*/ 60 w 76"/>
                  <a:gd name="T13" fmla="*/ 14 h 44"/>
                  <a:gd name="T14" fmla="*/ 57 w 76"/>
                  <a:gd name="T15" fmla="*/ 13 h 44"/>
                  <a:gd name="T16" fmla="*/ 55 w 76"/>
                  <a:gd name="T17" fmla="*/ 11 h 44"/>
                  <a:gd name="T18" fmla="*/ 54 w 76"/>
                  <a:gd name="T19" fmla="*/ 12 h 44"/>
                  <a:gd name="T20" fmla="*/ 57 w 76"/>
                  <a:gd name="T21" fmla="*/ 14 h 44"/>
                  <a:gd name="T22" fmla="*/ 57 w 76"/>
                  <a:gd name="T23" fmla="*/ 15 h 44"/>
                  <a:gd name="T24" fmla="*/ 55 w 76"/>
                  <a:gd name="T25" fmla="*/ 13 h 44"/>
                  <a:gd name="T26" fmla="*/ 53 w 76"/>
                  <a:gd name="T27" fmla="*/ 13 h 44"/>
                  <a:gd name="T28" fmla="*/ 51 w 76"/>
                  <a:gd name="T29" fmla="*/ 13 h 44"/>
                  <a:gd name="T30" fmla="*/ 49 w 76"/>
                  <a:gd name="T31" fmla="*/ 15 h 44"/>
                  <a:gd name="T32" fmla="*/ 49 w 76"/>
                  <a:gd name="T33" fmla="*/ 13 h 44"/>
                  <a:gd name="T34" fmla="*/ 50 w 76"/>
                  <a:gd name="T35" fmla="*/ 12 h 44"/>
                  <a:gd name="T36" fmla="*/ 48 w 76"/>
                  <a:gd name="T37" fmla="*/ 11 h 44"/>
                  <a:gd name="T38" fmla="*/ 46 w 76"/>
                  <a:gd name="T39" fmla="*/ 10 h 44"/>
                  <a:gd name="T40" fmla="*/ 45 w 76"/>
                  <a:gd name="T41" fmla="*/ 11 h 44"/>
                  <a:gd name="T42" fmla="*/ 43 w 76"/>
                  <a:gd name="T43" fmla="*/ 14 h 44"/>
                  <a:gd name="T44" fmla="*/ 45 w 76"/>
                  <a:gd name="T45" fmla="*/ 15 h 44"/>
                  <a:gd name="T46" fmla="*/ 45 w 76"/>
                  <a:gd name="T47" fmla="*/ 16 h 44"/>
                  <a:gd name="T48" fmla="*/ 42 w 76"/>
                  <a:gd name="T49" fmla="*/ 16 h 44"/>
                  <a:gd name="T50" fmla="*/ 41 w 76"/>
                  <a:gd name="T51" fmla="*/ 14 h 44"/>
                  <a:gd name="T52" fmla="*/ 39 w 76"/>
                  <a:gd name="T53" fmla="*/ 15 h 44"/>
                  <a:gd name="T54" fmla="*/ 36 w 76"/>
                  <a:gd name="T55" fmla="*/ 16 h 44"/>
                  <a:gd name="T56" fmla="*/ 34 w 76"/>
                  <a:gd name="T57" fmla="*/ 16 h 44"/>
                  <a:gd name="T58" fmla="*/ 33 w 76"/>
                  <a:gd name="T59" fmla="*/ 17 h 44"/>
                  <a:gd name="T60" fmla="*/ 32 w 76"/>
                  <a:gd name="T61" fmla="*/ 15 h 44"/>
                  <a:gd name="T62" fmla="*/ 31 w 76"/>
                  <a:gd name="T63" fmla="*/ 14 h 44"/>
                  <a:gd name="T64" fmla="*/ 29 w 76"/>
                  <a:gd name="T65" fmla="*/ 13 h 44"/>
                  <a:gd name="T66" fmla="*/ 29 w 76"/>
                  <a:gd name="T67" fmla="*/ 10 h 44"/>
                  <a:gd name="T68" fmla="*/ 29 w 76"/>
                  <a:gd name="T69" fmla="*/ 9 h 44"/>
                  <a:gd name="T70" fmla="*/ 31 w 76"/>
                  <a:gd name="T71" fmla="*/ 7 h 44"/>
                  <a:gd name="T72" fmla="*/ 31 w 76"/>
                  <a:gd name="T73" fmla="*/ 3 h 44"/>
                  <a:gd name="T74" fmla="*/ 32 w 76"/>
                  <a:gd name="T75" fmla="*/ 0 h 44"/>
                  <a:gd name="T76" fmla="*/ 22 w 76"/>
                  <a:gd name="T77" fmla="*/ 2 h 44"/>
                  <a:gd name="T78" fmla="*/ 11 w 76"/>
                  <a:gd name="T79" fmla="*/ 15 h 44"/>
                  <a:gd name="T80" fmla="*/ 2 w 76"/>
                  <a:gd name="T81" fmla="*/ 30 h 44"/>
                  <a:gd name="T82" fmla="*/ 7 w 76"/>
                  <a:gd name="T83" fmla="*/ 30 h 44"/>
                  <a:gd name="T84" fmla="*/ 16 w 76"/>
                  <a:gd name="T85" fmla="*/ 36 h 44"/>
                  <a:gd name="T86" fmla="*/ 24 w 76"/>
                  <a:gd name="T87" fmla="*/ 42 h 44"/>
                  <a:gd name="T88" fmla="*/ 39 w 76"/>
                  <a:gd name="T89" fmla="*/ 36 h 44"/>
                  <a:gd name="T90" fmla="*/ 45 w 76"/>
                  <a:gd name="T91" fmla="*/ 34 h 44"/>
                  <a:gd name="T92" fmla="*/ 54 w 76"/>
                  <a:gd name="T93" fmla="*/ 43 h 44"/>
                  <a:gd name="T94" fmla="*/ 61 w 76"/>
                  <a:gd name="T95" fmla="*/ 27 h 44"/>
                  <a:gd name="T96" fmla="*/ 72 w 76"/>
                  <a:gd name="T97" fmla="*/ 31 h 44"/>
                  <a:gd name="T98" fmla="*/ 76 w 76"/>
                  <a:gd name="T99" fmla="*/ 3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76" h="44">
                    <a:moveTo>
                      <a:pt x="76" y="31"/>
                    </a:moveTo>
                    <a:cubicBezTo>
                      <a:pt x="74" y="30"/>
                      <a:pt x="72" y="31"/>
                      <a:pt x="70" y="30"/>
                    </a:cubicBezTo>
                    <a:cubicBezTo>
                      <a:pt x="69" y="29"/>
                      <a:pt x="71" y="25"/>
                      <a:pt x="71" y="23"/>
                    </a:cubicBezTo>
                    <a:cubicBezTo>
                      <a:pt x="71" y="22"/>
                      <a:pt x="72" y="21"/>
                      <a:pt x="72" y="20"/>
                    </a:cubicBezTo>
                    <a:cubicBezTo>
                      <a:pt x="71" y="20"/>
                      <a:pt x="71" y="20"/>
                      <a:pt x="71" y="20"/>
                    </a:cubicBezTo>
                    <a:cubicBezTo>
                      <a:pt x="71" y="19"/>
                      <a:pt x="71" y="19"/>
                      <a:pt x="70" y="19"/>
                    </a:cubicBezTo>
                    <a:cubicBezTo>
                      <a:pt x="70" y="19"/>
                      <a:pt x="70" y="19"/>
                      <a:pt x="70" y="18"/>
                    </a:cubicBezTo>
                    <a:cubicBezTo>
                      <a:pt x="69" y="18"/>
                      <a:pt x="69" y="18"/>
                      <a:pt x="69" y="18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8" y="17"/>
                      <a:pt x="68" y="17"/>
                    </a:cubicBezTo>
                    <a:cubicBezTo>
                      <a:pt x="68" y="17"/>
                      <a:pt x="67" y="17"/>
                      <a:pt x="67" y="17"/>
                    </a:cubicBezTo>
                    <a:cubicBezTo>
                      <a:pt x="67" y="17"/>
                      <a:pt x="66" y="17"/>
                      <a:pt x="66" y="17"/>
                    </a:cubicBezTo>
                    <a:cubicBezTo>
                      <a:pt x="66" y="17"/>
                      <a:pt x="66" y="17"/>
                      <a:pt x="65" y="17"/>
                    </a:cubicBezTo>
                    <a:cubicBezTo>
                      <a:pt x="65" y="17"/>
                      <a:pt x="65" y="17"/>
                      <a:pt x="64" y="17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4" y="16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2" y="15"/>
                    </a:cubicBezTo>
                    <a:cubicBezTo>
                      <a:pt x="62" y="15"/>
                      <a:pt x="62" y="15"/>
                      <a:pt x="61" y="15"/>
                    </a:cubicBezTo>
                    <a:cubicBezTo>
                      <a:pt x="61" y="15"/>
                      <a:pt x="61" y="15"/>
                      <a:pt x="61" y="15"/>
                    </a:cubicBezTo>
                    <a:cubicBezTo>
                      <a:pt x="61" y="14"/>
                      <a:pt x="61" y="14"/>
                      <a:pt x="61" y="14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59" y="14"/>
                      <a:pt x="59" y="14"/>
                      <a:pt x="59" y="14"/>
                    </a:cubicBezTo>
                    <a:cubicBezTo>
                      <a:pt x="58" y="14"/>
                      <a:pt x="58" y="13"/>
                      <a:pt x="58" y="13"/>
                    </a:cubicBezTo>
                    <a:cubicBezTo>
                      <a:pt x="57" y="13"/>
                      <a:pt x="57" y="13"/>
                      <a:pt x="57" y="13"/>
                    </a:cubicBezTo>
                    <a:cubicBezTo>
                      <a:pt x="57" y="12"/>
                      <a:pt x="56" y="12"/>
                      <a:pt x="56" y="12"/>
                    </a:cubicBezTo>
                    <a:cubicBezTo>
                      <a:pt x="56" y="12"/>
                      <a:pt x="56" y="11"/>
                      <a:pt x="55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5" y="11"/>
                      <a:pt x="54" y="11"/>
                      <a:pt x="54" y="11"/>
                    </a:cubicBezTo>
                    <a:cubicBezTo>
                      <a:pt x="54" y="11"/>
                      <a:pt x="54" y="11"/>
                      <a:pt x="54" y="11"/>
                    </a:cubicBezTo>
                    <a:cubicBezTo>
                      <a:pt x="54" y="11"/>
                      <a:pt x="54" y="11"/>
                      <a:pt x="54" y="12"/>
                    </a:cubicBezTo>
                    <a:cubicBezTo>
                      <a:pt x="55" y="12"/>
                      <a:pt x="55" y="12"/>
                      <a:pt x="55" y="12"/>
                    </a:cubicBezTo>
                    <a:cubicBezTo>
                      <a:pt x="55" y="12"/>
                      <a:pt x="56" y="13"/>
                      <a:pt x="56" y="13"/>
                    </a:cubicBezTo>
                    <a:cubicBezTo>
                      <a:pt x="56" y="13"/>
                      <a:pt x="56" y="13"/>
                      <a:pt x="57" y="14"/>
                    </a:cubicBezTo>
                    <a:cubicBezTo>
                      <a:pt x="57" y="14"/>
                      <a:pt x="57" y="14"/>
                      <a:pt x="57" y="14"/>
                    </a:cubicBezTo>
                    <a:cubicBezTo>
                      <a:pt x="57" y="14"/>
                      <a:pt x="57" y="15"/>
                      <a:pt x="57" y="15"/>
                    </a:cubicBezTo>
                    <a:cubicBezTo>
                      <a:pt x="57" y="15"/>
                      <a:pt x="57" y="15"/>
                      <a:pt x="57" y="15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6" y="14"/>
                      <a:pt x="56" y="14"/>
                      <a:pt x="55" y="13"/>
                    </a:cubicBezTo>
                    <a:cubicBezTo>
                      <a:pt x="55" y="13"/>
                      <a:pt x="55" y="13"/>
                      <a:pt x="55" y="13"/>
                    </a:cubicBezTo>
                    <a:cubicBezTo>
                      <a:pt x="55" y="13"/>
                      <a:pt x="54" y="13"/>
                      <a:pt x="54" y="13"/>
                    </a:cubicBezTo>
                    <a:cubicBezTo>
                      <a:pt x="54" y="13"/>
                      <a:pt x="54" y="13"/>
                      <a:pt x="54" y="13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2" y="13"/>
                      <a:pt x="52" y="13"/>
                      <a:pt x="52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1" y="13"/>
                      <a:pt x="51" y="13"/>
                      <a:pt x="51" y="13"/>
                    </a:cubicBezTo>
                    <a:cubicBezTo>
                      <a:pt x="50" y="14"/>
                      <a:pt x="50" y="14"/>
                      <a:pt x="50" y="14"/>
                    </a:cubicBezTo>
                    <a:cubicBezTo>
                      <a:pt x="50" y="14"/>
                      <a:pt x="50" y="14"/>
                      <a:pt x="50" y="15"/>
                    </a:cubicBezTo>
                    <a:cubicBezTo>
                      <a:pt x="50" y="15"/>
                      <a:pt x="49" y="15"/>
                      <a:pt x="49" y="15"/>
                    </a:cubicBezTo>
                    <a:cubicBezTo>
                      <a:pt x="49" y="15"/>
                      <a:pt x="49" y="15"/>
                      <a:pt x="49" y="14"/>
                    </a:cubicBezTo>
                    <a:cubicBezTo>
                      <a:pt x="49" y="14"/>
                      <a:pt x="49" y="14"/>
                      <a:pt x="49" y="14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49" y="13"/>
                      <a:pt x="49" y="13"/>
                      <a:pt x="49" y="13"/>
                    </a:cubicBezTo>
                    <a:cubicBezTo>
                      <a:pt x="50" y="13"/>
                      <a:pt x="50" y="13"/>
                      <a:pt x="50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0" y="12"/>
                      <a:pt x="50" y="12"/>
                      <a:pt x="49" y="12"/>
                    </a:cubicBezTo>
                    <a:cubicBezTo>
                      <a:pt x="49" y="11"/>
                      <a:pt x="49" y="11"/>
                      <a:pt x="49" y="11"/>
                    </a:cubicBezTo>
                    <a:cubicBezTo>
                      <a:pt x="48" y="11"/>
                      <a:pt x="48" y="11"/>
                      <a:pt x="48" y="11"/>
                    </a:cubicBezTo>
                    <a:cubicBezTo>
                      <a:pt x="48" y="11"/>
                      <a:pt x="47" y="11"/>
                      <a:pt x="47" y="11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7" y="11"/>
                      <a:pt x="46" y="10"/>
                      <a:pt x="46" y="10"/>
                    </a:cubicBezTo>
                    <a:cubicBezTo>
                      <a:pt x="46" y="10"/>
                      <a:pt x="46" y="10"/>
                      <a:pt x="46" y="10"/>
                    </a:cubicBezTo>
                    <a:cubicBezTo>
                      <a:pt x="46" y="10"/>
                      <a:pt x="46" y="11"/>
                      <a:pt x="45" y="11"/>
                    </a:cubicBezTo>
                    <a:cubicBezTo>
                      <a:pt x="45" y="11"/>
                      <a:pt x="45" y="11"/>
                      <a:pt x="45" y="11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4" y="13"/>
                      <a:pt x="44" y="13"/>
                      <a:pt x="43" y="13"/>
                    </a:cubicBezTo>
                    <a:cubicBezTo>
                      <a:pt x="43" y="14"/>
                      <a:pt x="43" y="14"/>
                      <a:pt x="43" y="14"/>
                    </a:cubicBezTo>
                    <a:cubicBezTo>
                      <a:pt x="43" y="14"/>
                      <a:pt x="43" y="14"/>
                      <a:pt x="43" y="15"/>
                    </a:cubicBezTo>
                    <a:cubicBezTo>
                      <a:pt x="44" y="15"/>
                      <a:pt x="44" y="15"/>
                      <a:pt x="44" y="15"/>
                    </a:cubicBezTo>
                    <a:cubicBezTo>
                      <a:pt x="44" y="15"/>
                      <a:pt x="44" y="15"/>
                      <a:pt x="45" y="15"/>
                    </a:cubicBezTo>
                    <a:cubicBezTo>
                      <a:pt x="45" y="15"/>
                      <a:pt x="45" y="15"/>
                      <a:pt x="45" y="15"/>
                    </a:cubicBezTo>
                    <a:cubicBezTo>
                      <a:pt x="45" y="15"/>
                      <a:pt x="45" y="15"/>
                      <a:pt x="45" y="16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6"/>
                      <a:pt x="45" y="16"/>
                      <a:pt x="44" y="16"/>
                    </a:cubicBezTo>
                    <a:cubicBezTo>
                      <a:pt x="44" y="16"/>
                      <a:pt x="43" y="16"/>
                      <a:pt x="43" y="16"/>
                    </a:cubicBezTo>
                    <a:cubicBezTo>
                      <a:pt x="43" y="16"/>
                      <a:pt x="43" y="16"/>
                      <a:pt x="42" y="16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2" y="16"/>
                      <a:pt x="41" y="15"/>
                      <a:pt x="41" y="15"/>
                    </a:cubicBezTo>
                    <a:cubicBezTo>
                      <a:pt x="41" y="15"/>
                      <a:pt x="41" y="15"/>
                      <a:pt x="41" y="14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0" y="14"/>
                      <a:pt x="39" y="14"/>
                      <a:pt x="39" y="15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9" y="15"/>
                      <a:pt x="38" y="16"/>
                      <a:pt x="38" y="16"/>
                    </a:cubicBezTo>
                    <a:cubicBezTo>
                      <a:pt x="38" y="16"/>
                      <a:pt x="37" y="16"/>
                      <a:pt x="37" y="16"/>
                    </a:cubicBezTo>
                    <a:cubicBezTo>
                      <a:pt x="37" y="16"/>
                      <a:pt x="36" y="16"/>
                      <a:pt x="36" y="16"/>
                    </a:cubicBezTo>
                    <a:cubicBezTo>
                      <a:pt x="36" y="16"/>
                      <a:pt x="35" y="16"/>
                      <a:pt x="35" y="16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6"/>
                      <a:pt x="34" y="16"/>
                      <a:pt x="34" y="16"/>
                    </a:cubicBezTo>
                    <a:cubicBezTo>
                      <a:pt x="34" y="16"/>
                      <a:pt x="34" y="16"/>
                      <a:pt x="33" y="17"/>
                    </a:cubicBezTo>
                    <a:cubicBezTo>
                      <a:pt x="33" y="17"/>
                      <a:pt x="33" y="17"/>
                      <a:pt x="33" y="17"/>
                    </a:cubicBezTo>
                    <a:cubicBezTo>
                      <a:pt x="33" y="17"/>
                      <a:pt x="33" y="17"/>
                      <a:pt x="32" y="16"/>
                    </a:cubicBezTo>
                    <a:cubicBezTo>
                      <a:pt x="32" y="16"/>
                      <a:pt x="32" y="16"/>
                      <a:pt x="32" y="16"/>
                    </a:cubicBezTo>
                    <a:cubicBezTo>
                      <a:pt x="32" y="15"/>
                      <a:pt x="32" y="15"/>
                      <a:pt x="32" y="15"/>
                    </a:cubicBezTo>
                    <a:cubicBezTo>
                      <a:pt x="32" y="15"/>
                      <a:pt x="32" y="14"/>
                      <a:pt x="32" y="14"/>
                    </a:cubicBezTo>
                    <a:cubicBezTo>
                      <a:pt x="32" y="14"/>
                      <a:pt x="32" y="14"/>
                      <a:pt x="31" y="14"/>
                    </a:cubicBezTo>
                    <a:cubicBezTo>
                      <a:pt x="31" y="14"/>
                      <a:pt x="31" y="14"/>
                      <a:pt x="31" y="14"/>
                    </a:cubicBezTo>
                    <a:cubicBezTo>
                      <a:pt x="31" y="14"/>
                      <a:pt x="30" y="14"/>
                      <a:pt x="30" y="14"/>
                    </a:cubicBezTo>
                    <a:cubicBezTo>
                      <a:pt x="30" y="14"/>
                      <a:pt x="30" y="14"/>
                      <a:pt x="29" y="14"/>
                    </a:cubicBezTo>
                    <a:cubicBezTo>
                      <a:pt x="29" y="14"/>
                      <a:pt x="29" y="13"/>
                      <a:pt x="29" y="13"/>
                    </a:cubicBezTo>
                    <a:cubicBezTo>
                      <a:pt x="29" y="13"/>
                      <a:pt x="29" y="13"/>
                      <a:pt x="29" y="12"/>
                    </a:cubicBezTo>
                    <a:cubicBezTo>
                      <a:pt x="29" y="12"/>
                      <a:pt x="29" y="12"/>
                      <a:pt x="29" y="11"/>
                    </a:cubicBezTo>
                    <a:cubicBezTo>
                      <a:pt x="29" y="11"/>
                      <a:pt x="29" y="11"/>
                      <a:pt x="29" y="10"/>
                    </a:cubicBezTo>
                    <a:cubicBezTo>
                      <a:pt x="29" y="10"/>
                      <a:pt x="29" y="10"/>
                      <a:pt x="28" y="10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ubicBezTo>
                      <a:pt x="30" y="8"/>
                      <a:pt x="30" y="8"/>
                      <a:pt x="30" y="8"/>
                    </a:cubicBezTo>
                    <a:cubicBezTo>
                      <a:pt x="30" y="8"/>
                      <a:pt x="30" y="8"/>
                      <a:pt x="30" y="7"/>
                    </a:cubicBezTo>
                    <a:cubicBezTo>
                      <a:pt x="31" y="7"/>
                      <a:pt x="31" y="7"/>
                      <a:pt x="31" y="7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31" y="5"/>
                      <a:pt x="31" y="4"/>
                      <a:pt x="31" y="3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1" y="2"/>
                      <a:pt x="31" y="2"/>
                      <a:pt x="31" y="2"/>
                    </a:cubicBezTo>
                    <a:cubicBezTo>
                      <a:pt x="31" y="1"/>
                      <a:pt x="32" y="1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1" y="0"/>
                      <a:pt x="30" y="1"/>
                      <a:pt x="30" y="1"/>
                    </a:cubicBezTo>
                    <a:cubicBezTo>
                      <a:pt x="29" y="2"/>
                      <a:pt x="26" y="4"/>
                      <a:pt x="25" y="3"/>
                    </a:cubicBezTo>
                    <a:cubicBezTo>
                      <a:pt x="24" y="3"/>
                      <a:pt x="24" y="3"/>
                      <a:pt x="22" y="2"/>
                    </a:cubicBezTo>
                    <a:cubicBezTo>
                      <a:pt x="19" y="1"/>
                      <a:pt x="19" y="1"/>
                      <a:pt x="19" y="3"/>
                    </a:cubicBezTo>
                    <a:cubicBezTo>
                      <a:pt x="19" y="5"/>
                      <a:pt x="18" y="7"/>
                      <a:pt x="17" y="9"/>
                    </a:cubicBezTo>
                    <a:cubicBezTo>
                      <a:pt x="16" y="11"/>
                      <a:pt x="13" y="13"/>
                      <a:pt x="11" y="15"/>
                    </a:cubicBezTo>
                    <a:cubicBezTo>
                      <a:pt x="10" y="17"/>
                      <a:pt x="10" y="16"/>
                      <a:pt x="9" y="19"/>
                    </a:cubicBezTo>
                    <a:cubicBezTo>
                      <a:pt x="8" y="21"/>
                      <a:pt x="4" y="23"/>
                      <a:pt x="3" y="25"/>
                    </a:cubicBezTo>
                    <a:cubicBezTo>
                      <a:pt x="2" y="26"/>
                      <a:pt x="2" y="28"/>
                      <a:pt x="2" y="30"/>
                    </a:cubicBezTo>
                    <a:cubicBezTo>
                      <a:pt x="2" y="32"/>
                      <a:pt x="3" y="31"/>
                      <a:pt x="2" y="34"/>
                    </a:cubicBezTo>
                    <a:cubicBezTo>
                      <a:pt x="0" y="36"/>
                      <a:pt x="2" y="36"/>
                      <a:pt x="3" y="35"/>
                    </a:cubicBezTo>
                    <a:cubicBezTo>
                      <a:pt x="5" y="34"/>
                      <a:pt x="5" y="31"/>
                      <a:pt x="7" y="30"/>
                    </a:cubicBezTo>
                    <a:cubicBezTo>
                      <a:pt x="9" y="28"/>
                      <a:pt x="9" y="28"/>
                      <a:pt x="12" y="27"/>
                    </a:cubicBezTo>
                    <a:cubicBezTo>
                      <a:pt x="15" y="27"/>
                      <a:pt x="15" y="27"/>
                      <a:pt x="15" y="30"/>
                    </a:cubicBezTo>
                    <a:cubicBezTo>
                      <a:pt x="15" y="32"/>
                      <a:pt x="14" y="34"/>
                      <a:pt x="16" y="36"/>
                    </a:cubicBezTo>
                    <a:cubicBezTo>
                      <a:pt x="17" y="38"/>
                      <a:pt x="19" y="42"/>
                      <a:pt x="19" y="42"/>
                    </a:cubicBezTo>
                    <a:cubicBezTo>
                      <a:pt x="19" y="42"/>
                      <a:pt x="20" y="42"/>
                      <a:pt x="21" y="42"/>
                    </a:cubicBezTo>
                    <a:cubicBezTo>
                      <a:pt x="22" y="42"/>
                      <a:pt x="22" y="44"/>
                      <a:pt x="24" y="42"/>
                    </a:cubicBezTo>
                    <a:cubicBezTo>
                      <a:pt x="27" y="40"/>
                      <a:pt x="29" y="40"/>
                      <a:pt x="31" y="41"/>
                    </a:cubicBezTo>
                    <a:cubicBezTo>
                      <a:pt x="33" y="42"/>
                      <a:pt x="33" y="43"/>
                      <a:pt x="35" y="41"/>
                    </a:cubicBezTo>
                    <a:cubicBezTo>
                      <a:pt x="36" y="39"/>
                      <a:pt x="38" y="38"/>
                      <a:pt x="39" y="36"/>
                    </a:cubicBezTo>
                    <a:cubicBezTo>
                      <a:pt x="40" y="35"/>
                      <a:pt x="37" y="34"/>
                      <a:pt x="39" y="33"/>
                    </a:cubicBezTo>
                    <a:cubicBezTo>
                      <a:pt x="41" y="31"/>
                      <a:pt x="44" y="28"/>
                      <a:pt x="44" y="29"/>
                    </a:cubicBezTo>
                    <a:cubicBezTo>
                      <a:pt x="44" y="31"/>
                      <a:pt x="44" y="32"/>
                      <a:pt x="45" y="34"/>
                    </a:cubicBezTo>
                    <a:cubicBezTo>
                      <a:pt x="46" y="35"/>
                      <a:pt x="48" y="37"/>
                      <a:pt x="49" y="37"/>
                    </a:cubicBezTo>
                    <a:cubicBezTo>
                      <a:pt x="50" y="37"/>
                      <a:pt x="51" y="38"/>
                      <a:pt x="52" y="40"/>
                    </a:cubicBezTo>
                    <a:cubicBezTo>
                      <a:pt x="52" y="42"/>
                      <a:pt x="52" y="44"/>
                      <a:pt x="54" y="43"/>
                    </a:cubicBezTo>
                    <a:cubicBezTo>
                      <a:pt x="56" y="42"/>
                      <a:pt x="56" y="40"/>
                      <a:pt x="56" y="38"/>
                    </a:cubicBezTo>
                    <a:cubicBezTo>
                      <a:pt x="57" y="35"/>
                      <a:pt x="59" y="34"/>
                      <a:pt x="60" y="32"/>
                    </a:cubicBezTo>
                    <a:cubicBezTo>
                      <a:pt x="61" y="30"/>
                      <a:pt x="60" y="27"/>
                      <a:pt x="61" y="27"/>
                    </a:cubicBezTo>
                    <a:cubicBezTo>
                      <a:pt x="63" y="26"/>
                      <a:pt x="63" y="30"/>
                      <a:pt x="64" y="31"/>
                    </a:cubicBezTo>
                    <a:cubicBezTo>
                      <a:pt x="65" y="32"/>
                      <a:pt x="66" y="33"/>
                      <a:pt x="68" y="31"/>
                    </a:cubicBezTo>
                    <a:cubicBezTo>
                      <a:pt x="70" y="30"/>
                      <a:pt x="71" y="30"/>
                      <a:pt x="72" y="31"/>
                    </a:cubicBezTo>
                    <a:cubicBezTo>
                      <a:pt x="73" y="31"/>
                      <a:pt x="74" y="35"/>
                      <a:pt x="75" y="33"/>
                    </a:cubicBezTo>
                    <a:cubicBezTo>
                      <a:pt x="75" y="32"/>
                      <a:pt x="76" y="32"/>
                      <a:pt x="76" y="31"/>
                    </a:cubicBezTo>
                    <a:cubicBezTo>
                      <a:pt x="76" y="31"/>
                      <a:pt x="76" y="31"/>
                      <a:pt x="76" y="31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28" name="Freeform 205">
                <a:extLst>
                  <a:ext uri="{FF2B5EF4-FFF2-40B4-BE49-F238E27FC236}">
                    <a16:creationId xmlns:a16="http://schemas.microsoft.com/office/drawing/2014/main" id="{01649848-FF03-4B2C-7D0E-2B67C916E7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2733" y="4763826"/>
                <a:ext cx="485228" cy="295758"/>
              </a:xfrm>
              <a:custGeom>
                <a:avLst/>
                <a:gdLst>
                  <a:gd name="T0" fmla="*/ 119 w 120"/>
                  <a:gd name="T1" fmla="*/ 13 h 73"/>
                  <a:gd name="T2" fmla="*/ 113 w 120"/>
                  <a:gd name="T3" fmla="*/ 11 h 73"/>
                  <a:gd name="T4" fmla="*/ 110 w 120"/>
                  <a:gd name="T5" fmla="*/ 8 h 73"/>
                  <a:gd name="T6" fmla="*/ 105 w 120"/>
                  <a:gd name="T7" fmla="*/ 6 h 73"/>
                  <a:gd name="T8" fmla="*/ 97 w 120"/>
                  <a:gd name="T9" fmla="*/ 4 h 73"/>
                  <a:gd name="T10" fmla="*/ 93 w 120"/>
                  <a:gd name="T11" fmla="*/ 2 h 73"/>
                  <a:gd name="T12" fmla="*/ 87 w 120"/>
                  <a:gd name="T13" fmla="*/ 3 h 73"/>
                  <a:gd name="T14" fmla="*/ 79 w 120"/>
                  <a:gd name="T15" fmla="*/ 1 h 73"/>
                  <a:gd name="T16" fmla="*/ 73 w 120"/>
                  <a:gd name="T17" fmla="*/ 7 h 73"/>
                  <a:gd name="T18" fmla="*/ 66 w 120"/>
                  <a:gd name="T19" fmla="*/ 10 h 73"/>
                  <a:gd name="T20" fmla="*/ 60 w 120"/>
                  <a:gd name="T21" fmla="*/ 11 h 73"/>
                  <a:gd name="T22" fmla="*/ 49 w 120"/>
                  <a:gd name="T23" fmla="*/ 12 h 73"/>
                  <a:gd name="T24" fmla="*/ 46 w 120"/>
                  <a:gd name="T25" fmla="*/ 18 h 73"/>
                  <a:gd name="T26" fmla="*/ 40 w 120"/>
                  <a:gd name="T27" fmla="*/ 22 h 73"/>
                  <a:gd name="T28" fmla="*/ 26 w 120"/>
                  <a:gd name="T29" fmla="*/ 22 h 73"/>
                  <a:gd name="T30" fmla="*/ 18 w 120"/>
                  <a:gd name="T31" fmla="*/ 15 h 73"/>
                  <a:gd name="T32" fmla="*/ 16 w 120"/>
                  <a:gd name="T33" fmla="*/ 13 h 73"/>
                  <a:gd name="T34" fmla="*/ 16 w 120"/>
                  <a:gd name="T35" fmla="*/ 13 h 73"/>
                  <a:gd name="T36" fmla="*/ 16 w 120"/>
                  <a:gd name="T37" fmla="*/ 13 h 73"/>
                  <a:gd name="T38" fmla="*/ 15 w 120"/>
                  <a:gd name="T39" fmla="*/ 18 h 73"/>
                  <a:gd name="T40" fmla="*/ 14 w 120"/>
                  <a:gd name="T41" fmla="*/ 22 h 73"/>
                  <a:gd name="T42" fmla="*/ 9 w 120"/>
                  <a:gd name="T43" fmla="*/ 22 h 73"/>
                  <a:gd name="T44" fmla="*/ 5 w 120"/>
                  <a:gd name="T45" fmla="*/ 23 h 73"/>
                  <a:gd name="T46" fmla="*/ 8 w 120"/>
                  <a:gd name="T47" fmla="*/ 26 h 73"/>
                  <a:gd name="T48" fmla="*/ 8 w 120"/>
                  <a:gd name="T49" fmla="*/ 28 h 73"/>
                  <a:gd name="T50" fmla="*/ 5 w 120"/>
                  <a:gd name="T51" fmla="*/ 32 h 73"/>
                  <a:gd name="T52" fmla="*/ 5 w 120"/>
                  <a:gd name="T53" fmla="*/ 38 h 73"/>
                  <a:gd name="T54" fmla="*/ 3 w 120"/>
                  <a:gd name="T55" fmla="*/ 41 h 73"/>
                  <a:gd name="T56" fmla="*/ 1 w 120"/>
                  <a:gd name="T57" fmla="*/ 44 h 73"/>
                  <a:gd name="T58" fmla="*/ 0 w 120"/>
                  <a:gd name="T59" fmla="*/ 43 h 73"/>
                  <a:gd name="T60" fmla="*/ 3 w 120"/>
                  <a:gd name="T61" fmla="*/ 47 h 73"/>
                  <a:gd name="T62" fmla="*/ 5 w 120"/>
                  <a:gd name="T63" fmla="*/ 53 h 73"/>
                  <a:gd name="T64" fmla="*/ 9 w 120"/>
                  <a:gd name="T65" fmla="*/ 54 h 73"/>
                  <a:gd name="T66" fmla="*/ 13 w 120"/>
                  <a:gd name="T67" fmla="*/ 59 h 73"/>
                  <a:gd name="T68" fmla="*/ 18 w 120"/>
                  <a:gd name="T69" fmla="*/ 63 h 73"/>
                  <a:gd name="T70" fmla="*/ 22 w 120"/>
                  <a:gd name="T71" fmla="*/ 67 h 73"/>
                  <a:gd name="T72" fmla="*/ 27 w 120"/>
                  <a:gd name="T73" fmla="*/ 69 h 73"/>
                  <a:gd name="T74" fmla="*/ 32 w 120"/>
                  <a:gd name="T75" fmla="*/ 71 h 73"/>
                  <a:gd name="T76" fmla="*/ 40 w 120"/>
                  <a:gd name="T77" fmla="*/ 72 h 73"/>
                  <a:gd name="T78" fmla="*/ 45 w 120"/>
                  <a:gd name="T79" fmla="*/ 70 h 73"/>
                  <a:gd name="T80" fmla="*/ 48 w 120"/>
                  <a:gd name="T81" fmla="*/ 68 h 73"/>
                  <a:gd name="T82" fmla="*/ 53 w 120"/>
                  <a:gd name="T83" fmla="*/ 66 h 73"/>
                  <a:gd name="T84" fmla="*/ 58 w 120"/>
                  <a:gd name="T85" fmla="*/ 65 h 73"/>
                  <a:gd name="T86" fmla="*/ 63 w 120"/>
                  <a:gd name="T87" fmla="*/ 62 h 73"/>
                  <a:gd name="T88" fmla="*/ 69 w 120"/>
                  <a:gd name="T89" fmla="*/ 62 h 73"/>
                  <a:gd name="T90" fmla="*/ 75 w 120"/>
                  <a:gd name="T91" fmla="*/ 64 h 73"/>
                  <a:gd name="T92" fmla="*/ 80 w 120"/>
                  <a:gd name="T93" fmla="*/ 62 h 73"/>
                  <a:gd name="T94" fmla="*/ 84 w 120"/>
                  <a:gd name="T95" fmla="*/ 60 h 73"/>
                  <a:gd name="T96" fmla="*/ 88 w 120"/>
                  <a:gd name="T97" fmla="*/ 59 h 73"/>
                  <a:gd name="T98" fmla="*/ 91 w 120"/>
                  <a:gd name="T99" fmla="*/ 55 h 73"/>
                  <a:gd name="T100" fmla="*/ 93 w 120"/>
                  <a:gd name="T101" fmla="*/ 50 h 73"/>
                  <a:gd name="T102" fmla="*/ 95 w 120"/>
                  <a:gd name="T103" fmla="*/ 48 h 73"/>
                  <a:gd name="T104" fmla="*/ 98 w 120"/>
                  <a:gd name="T105" fmla="*/ 43 h 73"/>
                  <a:gd name="T106" fmla="*/ 100 w 120"/>
                  <a:gd name="T107" fmla="*/ 36 h 73"/>
                  <a:gd name="T108" fmla="*/ 104 w 120"/>
                  <a:gd name="T109" fmla="*/ 31 h 73"/>
                  <a:gd name="T110" fmla="*/ 104 w 120"/>
                  <a:gd name="T111" fmla="*/ 26 h 73"/>
                  <a:gd name="T112" fmla="*/ 108 w 120"/>
                  <a:gd name="T113" fmla="*/ 24 h 73"/>
                  <a:gd name="T114" fmla="*/ 112 w 120"/>
                  <a:gd name="T115" fmla="*/ 21 h 73"/>
                  <a:gd name="T116" fmla="*/ 117 w 120"/>
                  <a:gd name="T117" fmla="*/ 19 h 73"/>
                  <a:gd name="T118" fmla="*/ 120 w 120"/>
                  <a:gd name="T119" fmla="*/ 15 h 73"/>
                  <a:gd name="T120" fmla="*/ 119 w 120"/>
                  <a:gd name="T121" fmla="*/ 1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0" h="73">
                    <a:moveTo>
                      <a:pt x="119" y="13"/>
                    </a:moveTo>
                    <a:cubicBezTo>
                      <a:pt x="118" y="11"/>
                      <a:pt x="114" y="12"/>
                      <a:pt x="113" y="11"/>
                    </a:cubicBezTo>
                    <a:cubicBezTo>
                      <a:pt x="111" y="9"/>
                      <a:pt x="111" y="10"/>
                      <a:pt x="110" y="8"/>
                    </a:cubicBezTo>
                    <a:cubicBezTo>
                      <a:pt x="109" y="6"/>
                      <a:pt x="105" y="6"/>
                      <a:pt x="105" y="6"/>
                    </a:cubicBezTo>
                    <a:cubicBezTo>
                      <a:pt x="99" y="8"/>
                      <a:pt x="100" y="7"/>
                      <a:pt x="97" y="4"/>
                    </a:cubicBezTo>
                    <a:cubicBezTo>
                      <a:pt x="95" y="2"/>
                      <a:pt x="95" y="1"/>
                      <a:pt x="93" y="2"/>
                    </a:cubicBezTo>
                    <a:cubicBezTo>
                      <a:pt x="90" y="2"/>
                      <a:pt x="88" y="2"/>
                      <a:pt x="87" y="3"/>
                    </a:cubicBezTo>
                    <a:cubicBezTo>
                      <a:pt x="85" y="3"/>
                      <a:pt x="82" y="0"/>
                      <a:pt x="79" y="1"/>
                    </a:cubicBezTo>
                    <a:cubicBezTo>
                      <a:pt x="76" y="1"/>
                      <a:pt x="74" y="4"/>
                      <a:pt x="73" y="7"/>
                    </a:cubicBezTo>
                    <a:cubicBezTo>
                      <a:pt x="73" y="10"/>
                      <a:pt x="69" y="12"/>
                      <a:pt x="66" y="10"/>
                    </a:cubicBezTo>
                    <a:cubicBezTo>
                      <a:pt x="63" y="8"/>
                      <a:pt x="62" y="10"/>
                      <a:pt x="60" y="11"/>
                    </a:cubicBezTo>
                    <a:cubicBezTo>
                      <a:pt x="57" y="12"/>
                      <a:pt x="53" y="13"/>
                      <a:pt x="49" y="12"/>
                    </a:cubicBezTo>
                    <a:cubicBezTo>
                      <a:pt x="45" y="12"/>
                      <a:pt x="45" y="16"/>
                      <a:pt x="46" y="18"/>
                    </a:cubicBezTo>
                    <a:cubicBezTo>
                      <a:pt x="47" y="21"/>
                      <a:pt x="44" y="21"/>
                      <a:pt x="40" y="22"/>
                    </a:cubicBezTo>
                    <a:cubicBezTo>
                      <a:pt x="36" y="22"/>
                      <a:pt x="29" y="22"/>
                      <a:pt x="26" y="22"/>
                    </a:cubicBezTo>
                    <a:cubicBezTo>
                      <a:pt x="24" y="21"/>
                      <a:pt x="20" y="16"/>
                      <a:pt x="18" y="15"/>
                    </a:cubicBezTo>
                    <a:cubicBezTo>
                      <a:pt x="17" y="14"/>
                      <a:pt x="16" y="14"/>
                      <a:pt x="16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6" y="13"/>
                      <a:pt x="16" y="17"/>
                      <a:pt x="15" y="18"/>
                    </a:cubicBezTo>
                    <a:cubicBezTo>
                      <a:pt x="14" y="19"/>
                      <a:pt x="15" y="21"/>
                      <a:pt x="14" y="22"/>
                    </a:cubicBezTo>
                    <a:cubicBezTo>
                      <a:pt x="14" y="23"/>
                      <a:pt x="11" y="24"/>
                      <a:pt x="9" y="22"/>
                    </a:cubicBezTo>
                    <a:cubicBezTo>
                      <a:pt x="8" y="21"/>
                      <a:pt x="5" y="22"/>
                      <a:pt x="5" y="23"/>
                    </a:cubicBezTo>
                    <a:cubicBezTo>
                      <a:pt x="4" y="25"/>
                      <a:pt x="7" y="25"/>
                      <a:pt x="8" y="26"/>
                    </a:cubicBezTo>
                    <a:cubicBezTo>
                      <a:pt x="9" y="26"/>
                      <a:pt x="9" y="27"/>
                      <a:pt x="8" y="28"/>
                    </a:cubicBezTo>
                    <a:cubicBezTo>
                      <a:pt x="7" y="29"/>
                      <a:pt x="5" y="30"/>
                      <a:pt x="5" y="32"/>
                    </a:cubicBezTo>
                    <a:cubicBezTo>
                      <a:pt x="4" y="34"/>
                      <a:pt x="5" y="35"/>
                      <a:pt x="5" y="38"/>
                    </a:cubicBezTo>
                    <a:cubicBezTo>
                      <a:pt x="6" y="41"/>
                      <a:pt x="6" y="40"/>
                      <a:pt x="3" y="41"/>
                    </a:cubicBezTo>
                    <a:cubicBezTo>
                      <a:pt x="2" y="42"/>
                      <a:pt x="1" y="43"/>
                      <a:pt x="1" y="44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5"/>
                      <a:pt x="3" y="47"/>
                    </a:cubicBezTo>
                    <a:cubicBezTo>
                      <a:pt x="4" y="49"/>
                      <a:pt x="4" y="52"/>
                      <a:pt x="5" y="53"/>
                    </a:cubicBezTo>
                    <a:cubicBezTo>
                      <a:pt x="6" y="53"/>
                      <a:pt x="8" y="53"/>
                      <a:pt x="9" y="54"/>
                    </a:cubicBezTo>
                    <a:cubicBezTo>
                      <a:pt x="11" y="56"/>
                      <a:pt x="12" y="57"/>
                      <a:pt x="13" y="59"/>
                    </a:cubicBezTo>
                    <a:cubicBezTo>
                      <a:pt x="14" y="61"/>
                      <a:pt x="16" y="61"/>
                      <a:pt x="18" y="63"/>
                    </a:cubicBezTo>
                    <a:cubicBezTo>
                      <a:pt x="20" y="64"/>
                      <a:pt x="20" y="67"/>
                      <a:pt x="22" y="67"/>
                    </a:cubicBezTo>
                    <a:cubicBezTo>
                      <a:pt x="23" y="67"/>
                      <a:pt x="25" y="67"/>
                      <a:pt x="27" y="69"/>
                    </a:cubicBezTo>
                    <a:cubicBezTo>
                      <a:pt x="28" y="71"/>
                      <a:pt x="28" y="71"/>
                      <a:pt x="32" y="71"/>
                    </a:cubicBezTo>
                    <a:cubicBezTo>
                      <a:pt x="36" y="70"/>
                      <a:pt x="38" y="71"/>
                      <a:pt x="40" y="72"/>
                    </a:cubicBezTo>
                    <a:cubicBezTo>
                      <a:pt x="42" y="73"/>
                      <a:pt x="44" y="71"/>
                      <a:pt x="45" y="70"/>
                    </a:cubicBezTo>
                    <a:cubicBezTo>
                      <a:pt x="46" y="68"/>
                      <a:pt x="46" y="68"/>
                      <a:pt x="48" y="68"/>
                    </a:cubicBezTo>
                    <a:cubicBezTo>
                      <a:pt x="48" y="68"/>
                      <a:pt x="51" y="67"/>
                      <a:pt x="53" y="66"/>
                    </a:cubicBezTo>
                    <a:cubicBezTo>
                      <a:pt x="54" y="66"/>
                      <a:pt x="56" y="67"/>
                      <a:pt x="58" y="65"/>
                    </a:cubicBezTo>
                    <a:cubicBezTo>
                      <a:pt x="60" y="63"/>
                      <a:pt x="61" y="62"/>
                      <a:pt x="63" y="62"/>
                    </a:cubicBezTo>
                    <a:cubicBezTo>
                      <a:pt x="65" y="62"/>
                      <a:pt x="67" y="63"/>
                      <a:pt x="69" y="62"/>
                    </a:cubicBezTo>
                    <a:cubicBezTo>
                      <a:pt x="70" y="62"/>
                      <a:pt x="73" y="63"/>
                      <a:pt x="75" y="64"/>
                    </a:cubicBezTo>
                    <a:cubicBezTo>
                      <a:pt x="75" y="64"/>
                      <a:pt x="78" y="62"/>
                      <a:pt x="80" y="62"/>
                    </a:cubicBezTo>
                    <a:cubicBezTo>
                      <a:pt x="81" y="62"/>
                      <a:pt x="83" y="61"/>
                      <a:pt x="84" y="60"/>
                    </a:cubicBezTo>
                    <a:cubicBezTo>
                      <a:pt x="85" y="59"/>
                      <a:pt x="87" y="59"/>
                      <a:pt x="88" y="59"/>
                    </a:cubicBezTo>
                    <a:cubicBezTo>
                      <a:pt x="90" y="59"/>
                      <a:pt x="90" y="57"/>
                      <a:pt x="91" y="55"/>
                    </a:cubicBezTo>
                    <a:cubicBezTo>
                      <a:pt x="92" y="53"/>
                      <a:pt x="92" y="51"/>
                      <a:pt x="93" y="50"/>
                    </a:cubicBezTo>
                    <a:cubicBezTo>
                      <a:pt x="94" y="49"/>
                      <a:pt x="95" y="50"/>
                      <a:pt x="95" y="48"/>
                    </a:cubicBezTo>
                    <a:cubicBezTo>
                      <a:pt x="95" y="46"/>
                      <a:pt x="96" y="44"/>
                      <a:pt x="98" y="43"/>
                    </a:cubicBezTo>
                    <a:cubicBezTo>
                      <a:pt x="99" y="42"/>
                      <a:pt x="99" y="38"/>
                      <a:pt x="100" y="36"/>
                    </a:cubicBezTo>
                    <a:cubicBezTo>
                      <a:pt x="102" y="35"/>
                      <a:pt x="104" y="32"/>
                      <a:pt x="104" y="31"/>
                    </a:cubicBezTo>
                    <a:cubicBezTo>
                      <a:pt x="105" y="29"/>
                      <a:pt x="104" y="27"/>
                      <a:pt x="104" y="26"/>
                    </a:cubicBezTo>
                    <a:cubicBezTo>
                      <a:pt x="105" y="25"/>
                      <a:pt x="106" y="25"/>
                      <a:pt x="108" y="24"/>
                    </a:cubicBezTo>
                    <a:cubicBezTo>
                      <a:pt x="109" y="22"/>
                      <a:pt x="110" y="21"/>
                      <a:pt x="112" y="21"/>
                    </a:cubicBezTo>
                    <a:cubicBezTo>
                      <a:pt x="114" y="21"/>
                      <a:pt x="116" y="19"/>
                      <a:pt x="117" y="19"/>
                    </a:cubicBezTo>
                    <a:cubicBezTo>
                      <a:pt x="118" y="18"/>
                      <a:pt x="120" y="15"/>
                      <a:pt x="120" y="15"/>
                    </a:cubicBezTo>
                    <a:cubicBezTo>
                      <a:pt x="120" y="15"/>
                      <a:pt x="120" y="15"/>
                      <a:pt x="119" y="13"/>
                    </a:cubicBezTo>
                    <a:close/>
                  </a:path>
                </a:pathLst>
              </a:custGeom>
              <a:pattFill prst="wdUpDiag">
                <a:fgClr>
                  <a:schemeClr val="accent3"/>
                </a:fgClr>
                <a:bgClr>
                  <a:schemeClr val="accent4"/>
                </a:bgClr>
              </a:patt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29" name="Freeform 207">
                <a:extLst>
                  <a:ext uri="{FF2B5EF4-FFF2-40B4-BE49-F238E27FC236}">
                    <a16:creationId xmlns:a16="http://schemas.microsoft.com/office/drawing/2014/main" id="{0346EBED-9AFA-6B98-11F5-7844670AD1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32732" y="4937891"/>
                <a:ext cx="3081" cy="3081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1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30" name="Freeform 208">
                <a:extLst>
                  <a:ext uri="{FF2B5EF4-FFF2-40B4-BE49-F238E27FC236}">
                    <a16:creationId xmlns:a16="http://schemas.microsoft.com/office/drawing/2014/main" id="{278D5AA9-EE86-171D-473E-3FA70634C4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21697" y="4937891"/>
                <a:ext cx="231061" cy="161742"/>
              </a:xfrm>
              <a:custGeom>
                <a:avLst/>
                <a:gdLst>
                  <a:gd name="T0" fmla="*/ 57 w 57"/>
                  <a:gd name="T1" fmla="*/ 10 h 40"/>
                  <a:gd name="T2" fmla="*/ 55 w 57"/>
                  <a:gd name="T3" fmla="*/ 4 h 40"/>
                  <a:gd name="T4" fmla="*/ 52 w 57"/>
                  <a:gd name="T5" fmla="*/ 0 h 40"/>
                  <a:gd name="T6" fmla="*/ 49 w 57"/>
                  <a:gd name="T7" fmla="*/ 1 h 40"/>
                  <a:gd name="T8" fmla="*/ 50 w 57"/>
                  <a:gd name="T9" fmla="*/ 7 h 40"/>
                  <a:gd name="T10" fmla="*/ 45 w 57"/>
                  <a:gd name="T11" fmla="*/ 4 h 40"/>
                  <a:gd name="T12" fmla="*/ 41 w 57"/>
                  <a:gd name="T13" fmla="*/ 6 h 40"/>
                  <a:gd name="T14" fmla="*/ 37 w 57"/>
                  <a:gd name="T15" fmla="*/ 7 h 40"/>
                  <a:gd name="T16" fmla="*/ 31 w 57"/>
                  <a:gd name="T17" fmla="*/ 7 h 40"/>
                  <a:gd name="T18" fmla="*/ 26 w 57"/>
                  <a:gd name="T19" fmla="*/ 10 h 40"/>
                  <a:gd name="T20" fmla="*/ 22 w 57"/>
                  <a:gd name="T21" fmla="*/ 13 h 40"/>
                  <a:gd name="T22" fmla="*/ 14 w 57"/>
                  <a:gd name="T23" fmla="*/ 11 h 40"/>
                  <a:gd name="T24" fmla="*/ 8 w 57"/>
                  <a:gd name="T25" fmla="*/ 10 h 40"/>
                  <a:gd name="T26" fmla="*/ 2 w 57"/>
                  <a:gd name="T27" fmla="*/ 14 h 40"/>
                  <a:gd name="T28" fmla="*/ 4 w 57"/>
                  <a:gd name="T29" fmla="*/ 17 h 40"/>
                  <a:gd name="T30" fmla="*/ 7 w 57"/>
                  <a:gd name="T31" fmla="*/ 19 h 40"/>
                  <a:gd name="T32" fmla="*/ 4 w 57"/>
                  <a:gd name="T33" fmla="*/ 22 h 40"/>
                  <a:gd name="T34" fmla="*/ 5 w 57"/>
                  <a:gd name="T35" fmla="*/ 27 h 40"/>
                  <a:gd name="T36" fmla="*/ 7 w 57"/>
                  <a:gd name="T37" fmla="*/ 30 h 40"/>
                  <a:gd name="T38" fmla="*/ 8 w 57"/>
                  <a:gd name="T39" fmla="*/ 34 h 40"/>
                  <a:gd name="T40" fmla="*/ 4 w 57"/>
                  <a:gd name="T41" fmla="*/ 37 h 40"/>
                  <a:gd name="T42" fmla="*/ 5 w 57"/>
                  <a:gd name="T43" fmla="*/ 37 h 40"/>
                  <a:gd name="T44" fmla="*/ 12 w 57"/>
                  <a:gd name="T45" fmla="*/ 37 h 40"/>
                  <a:gd name="T46" fmla="*/ 18 w 57"/>
                  <a:gd name="T47" fmla="*/ 36 h 40"/>
                  <a:gd name="T48" fmla="*/ 23 w 57"/>
                  <a:gd name="T49" fmla="*/ 33 h 40"/>
                  <a:gd name="T50" fmla="*/ 25 w 57"/>
                  <a:gd name="T51" fmla="*/ 34 h 40"/>
                  <a:gd name="T52" fmla="*/ 30 w 57"/>
                  <a:gd name="T53" fmla="*/ 36 h 40"/>
                  <a:gd name="T54" fmla="*/ 36 w 57"/>
                  <a:gd name="T55" fmla="*/ 38 h 40"/>
                  <a:gd name="T56" fmla="*/ 37 w 57"/>
                  <a:gd name="T57" fmla="*/ 31 h 40"/>
                  <a:gd name="T58" fmla="*/ 41 w 57"/>
                  <a:gd name="T59" fmla="*/ 28 h 40"/>
                  <a:gd name="T60" fmla="*/ 43 w 57"/>
                  <a:gd name="T61" fmla="*/ 24 h 40"/>
                  <a:gd name="T62" fmla="*/ 42 w 57"/>
                  <a:gd name="T63" fmla="*/ 17 h 40"/>
                  <a:gd name="T64" fmla="*/ 47 w 57"/>
                  <a:gd name="T65" fmla="*/ 16 h 40"/>
                  <a:gd name="T66" fmla="*/ 53 w 57"/>
                  <a:gd name="T67" fmla="*/ 13 h 40"/>
                  <a:gd name="T68" fmla="*/ 55 w 57"/>
                  <a:gd name="T69" fmla="*/ 9 h 40"/>
                  <a:gd name="T70" fmla="*/ 57 w 57"/>
                  <a:gd name="T71" fmla="*/ 10 h 40"/>
                  <a:gd name="T72" fmla="*/ 57 w 57"/>
                  <a:gd name="T73" fmla="*/ 1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7" h="40">
                    <a:moveTo>
                      <a:pt x="57" y="10"/>
                    </a:moveTo>
                    <a:cubicBezTo>
                      <a:pt x="56" y="9"/>
                      <a:pt x="56" y="6"/>
                      <a:pt x="55" y="4"/>
                    </a:cubicBezTo>
                    <a:cubicBezTo>
                      <a:pt x="54" y="2"/>
                      <a:pt x="53" y="1"/>
                      <a:pt x="52" y="0"/>
                    </a:cubicBezTo>
                    <a:cubicBezTo>
                      <a:pt x="52" y="0"/>
                      <a:pt x="49" y="0"/>
                      <a:pt x="49" y="1"/>
                    </a:cubicBezTo>
                    <a:cubicBezTo>
                      <a:pt x="48" y="3"/>
                      <a:pt x="51" y="7"/>
                      <a:pt x="50" y="7"/>
                    </a:cubicBezTo>
                    <a:cubicBezTo>
                      <a:pt x="48" y="6"/>
                      <a:pt x="46" y="4"/>
                      <a:pt x="45" y="4"/>
                    </a:cubicBezTo>
                    <a:cubicBezTo>
                      <a:pt x="43" y="4"/>
                      <a:pt x="42" y="5"/>
                      <a:pt x="41" y="6"/>
                    </a:cubicBezTo>
                    <a:cubicBezTo>
                      <a:pt x="40" y="7"/>
                      <a:pt x="38" y="7"/>
                      <a:pt x="37" y="7"/>
                    </a:cubicBezTo>
                    <a:cubicBezTo>
                      <a:pt x="36" y="6"/>
                      <a:pt x="32" y="6"/>
                      <a:pt x="31" y="7"/>
                    </a:cubicBezTo>
                    <a:cubicBezTo>
                      <a:pt x="29" y="8"/>
                      <a:pt x="27" y="9"/>
                      <a:pt x="26" y="10"/>
                    </a:cubicBezTo>
                    <a:cubicBezTo>
                      <a:pt x="25" y="11"/>
                      <a:pt x="24" y="13"/>
                      <a:pt x="22" y="13"/>
                    </a:cubicBezTo>
                    <a:cubicBezTo>
                      <a:pt x="20" y="13"/>
                      <a:pt x="16" y="12"/>
                      <a:pt x="14" y="11"/>
                    </a:cubicBezTo>
                    <a:cubicBezTo>
                      <a:pt x="12" y="10"/>
                      <a:pt x="10" y="10"/>
                      <a:pt x="8" y="10"/>
                    </a:cubicBezTo>
                    <a:cubicBezTo>
                      <a:pt x="6" y="11"/>
                      <a:pt x="3" y="13"/>
                      <a:pt x="2" y="14"/>
                    </a:cubicBezTo>
                    <a:cubicBezTo>
                      <a:pt x="0" y="16"/>
                      <a:pt x="2" y="17"/>
                      <a:pt x="4" y="17"/>
                    </a:cubicBezTo>
                    <a:cubicBezTo>
                      <a:pt x="5" y="17"/>
                      <a:pt x="8" y="18"/>
                      <a:pt x="7" y="19"/>
                    </a:cubicBezTo>
                    <a:cubicBezTo>
                      <a:pt x="5" y="20"/>
                      <a:pt x="4" y="20"/>
                      <a:pt x="4" y="22"/>
                    </a:cubicBezTo>
                    <a:cubicBezTo>
                      <a:pt x="5" y="24"/>
                      <a:pt x="5" y="26"/>
                      <a:pt x="5" y="27"/>
                    </a:cubicBezTo>
                    <a:cubicBezTo>
                      <a:pt x="6" y="28"/>
                      <a:pt x="6" y="30"/>
                      <a:pt x="7" y="30"/>
                    </a:cubicBezTo>
                    <a:cubicBezTo>
                      <a:pt x="9" y="31"/>
                      <a:pt x="9" y="33"/>
                      <a:pt x="8" y="34"/>
                    </a:cubicBezTo>
                    <a:cubicBezTo>
                      <a:pt x="6" y="34"/>
                      <a:pt x="4" y="37"/>
                      <a:pt x="4" y="37"/>
                    </a:cubicBezTo>
                    <a:cubicBezTo>
                      <a:pt x="4" y="37"/>
                      <a:pt x="4" y="37"/>
                      <a:pt x="5" y="37"/>
                    </a:cubicBezTo>
                    <a:cubicBezTo>
                      <a:pt x="6" y="37"/>
                      <a:pt x="11" y="38"/>
                      <a:pt x="12" y="37"/>
                    </a:cubicBezTo>
                    <a:cubicBezTo>
                      <a:pt x="14" y="36"/>
                      <a:pt x="16" y="36"/>
                      <a:pt x="18" y="36"/>
                    </a:cubicBezTo>
                    <a:cubicBezTo>
                      <a:pt x="19" y="36"/>
                      <a:pt x="23" y="34"/>
                      <a:pt x="23" y="33"/>
                    </a:cubicBezTo>
                    <a:cubicBezTo>
                      <a:pt x="23" y="31"/>
                      <a:pt x="24" y="32"/>
                      <a:pt x="25" y="34"/>
                    </a:cubicBezTo>
                    <a:cubicBezTo>
                      <a:pt x="26" y="36"/>
                      <a:pt x="29" y="36"/>
                      <a:pt x="30" y="36"/>
                    </a:cubicBezTo>
                    <a:cubicBezTo>
                      <a:pt x="32" y="36"/>
                      <a:pt x="35" y="40"/>
                      <a:pt x="36" y="38"/>
                    </a:cubicBezTo>
                    <a:cubicBezTo>
                      <a:pt x="36" y="36"/>
                      <a:pt x="38" y="33"/>
                      <a:pt x="37" y="31"/>
                    </a:cubicBezTo>
                    <a:cubicBezTo>
                      <a:pt x="36" y="29"/>
                      <a:pt x="39" y="29"/>
                      <a:pt x="41" y="28"/>
                    </a:cubicBezTo>
                    <a:cubicBezTo>
                      <a:pt x="42" y="27"/>
                      <a:pt x="43" y="26"/>
                      <a:pt x="43" y="24"/>
                    </a:cubicBezTo>
                    <a:cubicBezTo>
                      <a:pt x="42" y="22"/>
                      <a:pt x="41" y="18"/>
                      <a:pt x="42" y="17"/>
                    </a:cubicBezTo>
                    <a:cubicBezTo>
                      <a:pt x="43" y="17"/>
                      <a:pt x="46" y="17"/>
                      <a:pt x="47" y="16"/>
                    </a:cubicBezTo>
                    <a:cubicBezTo>
                      <a:pt x="49" y="14"/>
                      <a:pt x="52" y="14"/>
                      <a:pt x="53" y="13"/>
                    </a:cubicBezTo>
                    <a:cubicBezTo>
                      <a:pt x="53" y="13"/>
                      <a:pt x="53" y="9"/>
                      <a:pt x="55" y="9"/>
                    </a:cubicBezTo>
                    <a:cubicBezTo>
                      <a:pt x="56" y="9"/>
                      <a:pt x="57" y="10"/>
                      <a:pt x="57" y="10"/>
                    </a:cubicBezTo>
                    <a:cubicBezTo>
                      <a:pt x="57" y="10"/>
                      <a:pt x="57" y="10"/>
                      <a:pt x="57" y="1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531" name="Gruppieren 316">
                <a:extLst>
                  <a:ext uri="{FF2B5EF4-FFF2-40B4-BE49-F238E27FC236}">
                    <a16:creationId xmlns:a16="http://schemas.microsoft.com/office/drawing/2014/main" id="{C6D15B36-D1D2-3CB6-6907-11BD4B6391B1}"/>
                  </a:ext>
                </a:extLst>
              </p:cNvPr>
              <p:cNvGrpSpPr/>
              <p:nvPr/>
            </p:nvGrpSpPr>
            <p:grpSpPr bwMode="gray">
              <a:xfrm>
                <a:off x="4632076" y="2006503"/>
                <a:ext cx="1846944" cy="1389445"/>
                <a:chOff x="4633914" y="1992313"/>
                <a:chExt cx="1903412" cy="1431925"/>
              </a:xfrm>
              <a:grpFill/>
            </p:grpSpPr>
            <p:sp>
              <p:nvSpPr>
                <p:cNvPr id="538" name="Freeform 8">
                  <a:extLst>
                    <a:ext uri="{FF2B5EF4-FFF2-40B4-BE49-F238E27FC236}">
                      <a16:creationId xmlns:a16="http://schemas.microsoft.com/office/drawing/2014/main" id="{C924D054-C400-CF1B-2095-21A356EB6D1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633914" y="3414713"/>
                  <a:ext cx="12700" cy="9525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0 h 2"/>
                    <a:gd name="T4" fmla="*/ 2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cubicBezTo>
                        <a:pt x="1" y="2"/>
                        <a:pt x="3" y="0"/>
                        <a:pt x="3" y="0"/>
                      </a:cubicBezTo>
                      <a:cubicBezTo>
                        <a:pt x="3" y="0"/>
                        <a:pt x="2" y="0"/>
                        <a:pt x="2" y="0"/>
                      </a:cubicBezTo>
                      <a:cubicBezTo>
                        <a:pt x="1" y="1"/>
                        <a:pt x="0" y="2"/>
                        <a:pt x="0" y="2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9" name="Freeform 155">
                  <a:extLst>
                    <a:ext uri="{FF2B5EF4-FFF2-40B4-BE49-F238E27FC236}">
                      <a16:creationId xmlns:a16="http://schemas.microsoft.com/office/drawing/2014/main" id="{751F3FEA-A930-F3B6-0C86-E56705360D7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081589" y="2671763"/>
                  <a:ext cx="44450" cy="42863"/>
                </a:xfrm>
                <a:custGeom>
                  <a:avLst/>
                  <a:gdLst>
                    <a:gd name="T0" fmla="*/ 6 w 11"/>
                    <a:gd name="T1" fmla="*/ 3 h 10"/>
                    <a:gd name="T2" fmla="*/ 2 w 11"/>
                    <a:gd name="T3" fmla="*/ 1 h 10"/>
                    <a:gd name="T4" fmla="*/ 3 w 11"/>
                    <a:gd name="T5" fmla="*/ 6 h 10"/>
                    <a:gd name="T6" fmla="*/ 7 w 11"/>
                    <a:gd name="T7" fmla="*/ 8 h 10"/>
                    <a:gd name="T8" fmla="*/ 10 w 11"/>
                    <a:gd name="T9" fmla="*/ 5 h 10"/>
                    <a:gd name="T10" fmla="*/ 6 w 11"/>
                    <a:gd name="T11" fmla="*/ 3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10">
                      <a:moveTo>
                        <a:pt x="6" y="3"/>
                      </a:moveTo>
                      <a:cubicBezTo>
                        <a:pt x="4" y="0"/>
                        <a:pt x="4" y="1"/>
                        <a:pt x="2" y="1"/>
                      </a:cubicBezTo>
                      <a:cubicBezTo>
                        <a:pt x="0" y="1"/>
                        <a:pt x="2" y="3"/>
                        <a:pt x="3" y="6"/>
                      </a:cubicBezTo>
                      <a:cubicBezTo>
                        <a:pt x="5" y="10"/>
                        <a:pt x="6" y="9"/>
                        <a:pt x="7" y="8"/>
                      </a:cubicBezTo>
                      <a:cubicBezTo>
                        <a:pt x="9" y="7"/>
                        <a:pt x="11" y="5"/>
                        <a:pt x="10" y="5"/>
                      </a:cubicBezTo>
                      <a:cubicBezTo>
                        <a:pt x="8" y="5"/>
                        <a:pt x="6" y="5"/>
                        <a:pt x="6" y="3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0" name="Freeform 156">
                  <a:extLst>
                    <a:ext uri="{FF2B5EF4-FFF2-40B4-BE49-F238E27FC236}">
                      <a16:creationId xmlns:a16="http://schemas.microsoft.com/office/drawing/2014/main" id="{47C16739-C829-4116-EFAB-107B7BD965B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114926" y="2668588"/>
                  <a:ext cx="23813" cy="15875"/>
                </a:xfrm>
                <a:custGeom>
                  <a:avLst/>
                  <a:gdLst>
                    <a:gd name="T0" fmla="*/ 3 w 6"/>
                    <a:gd name="T1" fmla="*/ 0 h 4"/>
                    <a:gd name="T2" fmla="*/ 2 w 6"/>
                    <a:gd name="T3" fmla="*/ 3 h 4"/>
                    <a:gd name="T4" fmla="*/ 3 w 6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4">
                      <a:moveTo>
                        <a:pt x="3" y="0"/>
                      </a:moveTo>
                      <a:cubicBezTo>
                        <a:pt x="2" y="0"/>
                        <a:pt x="0" y="2"/>
                        <a:pt x="2" y="3"/>
                      </a:cubicBezTo>
                      <a:cubicBezTo>
                        <a:pt x="4" y="4"/>
                        <a:pt x="6" y="1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1" name="Freeform 157">
                  <a:extLst>
                    <a:ext uri="{FF2B5EF4-FFF2-40B4-BE49-F238E27FC236}">
                      <a16:creationId xmlns:a16="http://schemas.microsoft.com/office/drawing/2014/main" id="{AD1BEBBB-10FC-703D-8741-CC776057441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502276" y="2401888"/>
                  <a:ext cx="25400" cy="23813"/>
                </a:xfrm>
                <a:custGeom>
                  <a:avLst/>
                  <a:gdLst>
                    <a:gd name="T0" fmla="*/ 3 w 6"/>
                    <a:gd name="T1" fmla="*/ 1 h 6"/>
                    <a:gd name="T2" fmla="*/ 3 w 6"/>
                    <a:gd name="T3" fmla="*/ 5 h 6"/>
                    <a:gd name="T4" fmla="*/ 3 w 6"/>
                    <a:gd name="T5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6" h="6">
                      <a:moveTo>
                        <a:pt x="3" y="1"/>
                      </a:moveTo>
                      <a:cubicBezTo>
                        <a:pt x="2" y="0"/>
                        <a:pt x="0" y="5"/>
                        <a:pt x="3" y="5"/>
                      </a:cubicBezTo>
                      <a:cubicBezTo>
                        <a:pt x="5" y="6"/>
                        <a:pt x="6" y="2"/>
                        <a:pt x="3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2" name="Freeform 159">
                  <a:extLst>
                    <a:ext uri="{FF2B5EF4-FFF2-40B4-BE49-F238E27FC236}">
                      <a16:creationId xmlns:a16="http://schemas.microsoft.com/office/drawing/2014/main" id="{2EEBA2FB-CF58-BB06-C77B-6BAC71F59B9E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278564" y="2054225"/>
                  <a:ext cx="28575" cy="22225"/>
                </a:xfrm>
                <a:custGeom>
                  <a:avLst/>
                  <a:gdLst>
                    <a:gd name="T0" fmla="*/ 3 w 7"/>
                    <a:gd name="T1" fmla="*/ 0 h 5"/>
                    <a:gd name="T2" fmla="*/ 2 w 7"/>
                    <a:gd name="T3" fmla="*/ 4 h 5"/>
                    <a:gd name="T4" fmla="*/ 3 w 7"/>
                    <a:gd name="T5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7" h="5">
                      <a:moveTo>
                        <a:pt x="3" y="0"/>
                      </a:moveTo>
                      <a:cubicBezTo>
                        <a:pt x="0" y="1"/>
                        <a:pt x="0" y="3"/>
                        <a:pt x="2" y="4"/>
                      </a:cubicBezTo>
                      <a:cubicBezTo>
                        <a:pt x="5" y="5"/>
                        <a:pt x="7" y="2"/>
                        <a:pt x="3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43" name="Freeform 160">
                  <a:extLst>
                    <a:ext uri="{FF2B5EF4-FFF2-40B4-BE49-F238E27FC236}">
                      <a16:creationId xmlns:a16="http://schemas.microsoft.com/office/drawing/2014/main" id="{0C715C3D-4469-AECA-A6B8-4C9397C86E6B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499226" y="1992313"/>
                  <a:ext cx="38100" cy="46038"/>
                </a:xfrm>
                <a:custGeom>
                  <a:avLst/>
                  <a:gdLst>
                    <a:gd name="T0" fmla="*/ 6 w 9"/>
                    <a:gd name="T1" fmla="*/ 8 h 11"/>
                    <a:gd name="T2" fmla="*/ 9 w 9"/>
                    <a:gd name="T3" fmla="*/ 9 h 11"/>
                    <a:gd name="T4" fmla="*/ 6 w 9"/>
                    <a:gd name="T5" fmla="*/ 4 h 11"/>
                    <a:gd name="T6" fmla="*/ 1 w 9"/>
                    <a:gd name="T7" fmla="*/ 1 h 11"/>
                    <a:gd name="T8" fmla="*/ 6 w 9"/>
                    <a:gd name="T9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1">
                      <a:moveTo>
                        <a:pt x="6" y="8"/>
                      </a:moveTo>
                      <a:cubicBezTo>
                        <a:pt x="8" y="9"/>
                        <a:pt x="9" y="11"/>
                        <a:pt x="9" y="9"/>
                      </a:cubicBezTo>
                      <a:cubicBezTo>
                        <a:pt x="9" y="7"/>
                        <a:pt x="8" y="4"/>
                        <a:pt x="6" y="4"/>
                      </a:cubicBezTo>
                      <a:cubicBezTo>
                        <a:pt x="4" y="3"/>
                        <a:pt x="3" y="0"/>
                        <a:pt x="1" y="1"/>
                      </a:cubicBezTo>
                      <a:cubicBezTo>
                        <a:pt x="0" y="2"/>
                        <a:pt x="4" y="5"/>
                        <a:pt x="6" y="8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grpSp>
            <p:nvGrpSpPr>
              <p:cNvPr id="532" name="Gruppieren 317">
                <a:extLst>
                  <a:ext uri="{FF2B5EF4-FFF2-40B4-BE49-F238E27FC236}">
                    <a16:creationId xmlns:a16="http://schemas.microsoft.com/office/drawing/2014/main" id="{6E518EA7-66F9-1C6A-8DA3-EA816272E68D}"/>
                  </a:ext>
                </a:extLst>
              </p:cNvPr>
              <p:cNvGrpSpPr/>
              <p:nvPr/>
            </p:nvGrpSpPr>
            <p:grpSpPr bwMode="gray">
              <a:xfrm>
                <a:off x="4806143" y="5597188"/>
                <a:ext cx="64698" cy="457501"/>
                <a:chOff x="4813301" y="5692775"/>
                <a:chExt cx="66676" cy="471488"/>
              </a:xfrm>
              <a:grpFill/>
            </p:grpSpPr>
            <p:sp>
              <p:nvSpPr>
                <p:cNvPr id="536" name="Freeform 86">
                  <a:extLst>
                    <a:ext uri="{FF2B5EF4-FFF2-40B4-BE49-F238E27FC236}">
                      <a16:creationId xmlns:a16="http://schemas.microsoft.com/office/drawing/2014/main" id="{C137EF04-7A77-3F60-3C08-ED54D8B3F924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30764" y="6138863"/>
                  <a:ext cx="49213" cy="25400"/>
                </a:xfrm>
                <a:custGeom>
                  <a:avLst/>
                  <a:gdLst>
                    <a:gd name="T0" fmla="*/ 10 w 12"/>
                    <a:gd name="T1" fmla="*/ 0 h 6"/>
                    <a:gd name="T2" fmla="*/ 6 w 12"/>
                    <a:gd name="T3" fmla="*/ 0 h 6"/>
                    <a:gd name="T4" fmla="*/ 1 w 12"/>
                    <a:gd name="T5" fmla="*/ 3 h 6"/>
                    <a:gd name="T6" fmla="*/ 3 w 12"/>
                    <a:gd name="T7" fmla="*/ 5 h 6"/>
                    <a:gd name="T8" fmla="*/ 7 w 12"/>
                    <a:gd name="T9" fmla="*/ 3 h 6"/>
                    <a:gd name="T10" fmla="*/ 10 w 12"/>
                    <a:gd name="T11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6">
                      <a:moveTo>
                        <a:pt x="10" y="0"/>
                      </a:moveTo>
                      <a:cubicBezTo>
                        <a:pt x="8" y="0"/>
                        <a:pt x="9" y="0"/>
                        <a:pt x="6" y="0"/>
                      </a:cubicBezTo>
                      <a:cubicBezTo>
                        <a:pt x="3" y="1"/>
                        <a:pt x="2" y="1"/>
                        <a:pt x="1" y="3"/>
                      </a:cubicBezTo>
                      <a:cubicBezTo>
                        <a:pt x="0" y="4"/>
                        <a:pt x="1" y="6"/>
                        <a:pt x="3" y="5"/>
                      </a:cubicBezTo>
                      <a:cubicBezTo>
                        <a:pt x="5" y="4"/>
                        <a:pt x="4" y="3"/>
                        <a:pt x="7" y="3"/>
                      </a:cubicBezTo>
                      <a:cubicBezTo>
                        <a:pt x="10" y="3"/>
                        <a:pt x="12" y="1"/>
                        <a:pt x="10" y="0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537" name="Freeform 73">
                  <a:extLst>
                    <a:ext uri="{FF2B5EF4-FFF2-40B4-BE49-F238E27FC236}">
                      <a16:creationId xmlns:a16="http://schemas.microsoft.com/office/drawing/2014/main" id="{A6FD0276-87F3-AAA5-5467-E69A968FA4AA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4813301" y="5692775"/>
                  <a:ext cx="12700" cy="25400"/>
                </a:xfrm>
                <a:custGeom>
                  <a:avLst/>
                  <a:gdLst>
                    <a:gd name="T0" fmla="*/ 2 w 3"/>
                    <a:gd name="T1" fmla="*/ 1 h 6"/>
                    <a:gd name="T2" fmla="*/ 0 w 3"/>
                    <a:gd name="T3" fmla="*/ 4 h 6"/>
                    <a:gd name="T4" fmla="*/ 3 w 3"/>
                    <a:gd name="T5" fmla="*/ 5 h 6"/>
                    <a:gd name="T6" fmla="*/ 2 w 3"/>
                    <a:gd name="T7" fmla="*/ 1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6">
                      <a:moveTo>
                        <a:pt x="2" y="1"/>
                      </a:moveTo>
                      <a:cubicBezTo>
                        <a:pt x="0" y="0"/>
                        <a:pt x="0" y="3"/>
                        <a:pt x="0" y="4"/>
                      </a:cubicBezTo>
                      <a:cubicBezTo>
                        <a:pt x="0" y="6"/>
                        <a:pt x="2" y="6"/>
                        <a:pt x="3" y="5"/>
                      </a:cubicBezTo>
                      <a:cubicBezTo>
                        <a:pt x="3" y="4"/>
                        <a:pt x="3" y="2"/>
                        <a:pt x="2" y="1"/>
                      </a:cubicBez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12541" tIns="56271" rIns="112541" bIns="56271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219110"/>
                  <a:endParaRPr lang="en-US" sz="2216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533" name="Freeform 211">
                <a:extLst>
                  <a:ext uri="{FF2B5EF4-FFF2-40B4-BE49-F238E27FC236}">
                    <a16:creationId xmlns:a16="http://schemas.microsoft.com/office/drawing/2014/main" id="{A38BAD3B-9261-46EF-672B-8B72718F14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09879" y="5289103"/>
                <a:ext cx="126313" cy="183308"/>
              </a:xfrm>
              <a:custGeom>
                <a:avLst/>
                <a:gdLst>
                  <a:gd name="T0" fmla="*/ 28 w 31"/>
                  <a:gd name="T1" fmla="*/ 19 h 45"/>
                  <a:gd name="T2" fmla="*/ 31 w 31"/>
                  <a:gd name="T3" fmla="*/ 16 h 45"/>
                  <a:gd name="T4" fmla="*/ 31 w 31"/>
                  <a:gd name="T5" fmla="*/ 13 h 45"/>
                  <a:gd name="T6" fmla="*/ 18 w 31"/>
                  <a:gd name="T7" fmla="*/ 5 h 45"/>
                  <a:gd name="T8" fmla="*/ 12 w 31"/>
                  <a:gd name="T9" fmla="*/ 1 h 45"/>
                  <a:gd name="T10" fmla="*/ 9 w 31"/>
                  <a:gd name="T11" fmla="*/ 2 h 45"/>
                  <a:gd name="T12" fmla="*/ 10 w 31"/>
                  <a:gd name="T13" fmla="*/ 7 h 45"/>
                  <a:gd name="T14" fmla="*/ 7 w 31"/>
                  <a:gd name="T15" fmla="*/ 6 h 45"/>
                  <a:gd name="T16" fmla="*/ 4 w 31"/>
                  <a:gd name="T17" fmla="*/ 11 h 45"/>
                  <a:gd name="T18" fmla="*/ 1 w 31"/>
                  <a:gd name="T19" fmla="*/ 14 h 45"/>
                  <a:gd name="T20" fmla="*/ 0 w 31"/>
                  <a:gd name="T21" fmla="*/ 19 h 45"/>
                  <a:gd name="T22" fmla="*/ 2 w 31"/>
                  <a:gd name="T23" fmla="*/ 24 h 45"/>
                  <a:gd name="T24" fmla="*/ 1 w 31"/>
                  <a:gd name="T25" fmla="*/ 27 h 45"/>
                  <a:gd name="T26" fmla="*/ 2 w 31"/>
                  <a:gd name="T27" fmla="*/ 30 h 45"/>
                  <a:gd name="T28" fmla="*/ 6 w 31"/>
                  <a:gd name="T29" fmla="*/ 30 h 45"/>
                  <a:gd name="T30" fmla="*/ 5 w 31"/>
                  <a:gd name="T31" fmla="*/ 31 h 45"/>
                  <a:gd name="T32" fmla="*/ 6 w 31"/>
                  <a:gd name="T33" fmla="*/ 33 h 45"/>
                  <a:gd name="T34" fmla="*/ 9 w 31"/>
                  <a:gd name="T35" fmla="*/ 35 h 45"/>
                  <a:gd name="T36" fmla="*/ 13 w 31"/>
                  <a:gd name="T37" fmla="*/ 39 h 45"/>
                  <a:gd name="T38" fmla="*/ 15 w 31"/>
                  <a:gd name="T39" fmla="*/ 43 h 45"/>
                  <a:gd name="T40" fmla="*/ 18 w 31"/>
                  <a:gd name="T41" fmla="*/ 45 h 45"/>
                  <a:gd name="T42" fmla="*/ 18 w 31"/>
                  <a:gd name="T43" fmla="*/ 41 h 45"/>
                  <a:gd name="T44" fmla="*/ 19 w 31"/>
                  <a:gd name="T45" fmla="*/ 32 h 45"/>
                  <a:gd name="T46" fmla="*/ 22 w 31"/>
                  <a:gd name="T47" fmla="*/ 25 h 45"/>
                  <a:gd name="T48" fmla="*/ 25 w 31"/>
                  <a:gd name="T49" fmla="*/ 26 h 45"/>
                  <a:gd name="T50" fmla="*/ 29 w 31"/>
                  <a:gd name="T51" fmla="*/ 28 h 45"/>
                  <a:gd name="T52" fmla="*/ 31 w 31"/>
                  <a:gd name="T53" fmla="*/ 24 h 45"/>
                  <a:gd name="T54" fmla="*/ 31 w 31"/>
                  <a:gd name="T55" fmla="*/ 21 h 45"/>
                  <a:gd name="T56" fmla="*/ 28 w 31"/>
                  <a:gd name="T57" fmla="*/ 1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1" h="45">
                    <a:moveTo>
                      <a:pt x="28" y="19"/>
                    </a:moveTo>
                    <a:cubicBezTo>
                      <a:pt x="31" y="16"/>
                      <a:pt x="31" y="16"/>
                      <a:pt x="31" y="16"/>
                    </a:cubicBezTo>
                    <a:cubicBezTo>
                      <a:pt x="31" y="13"/>
                      <a:pt x="31" y="13"/>
                      <a:pt x="31" y="13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1" y="1"/>
                      <a:pt x="9" y="0"/>
                      <a:pt x="9" y="2"/>
                    </a:cubicBezTo>
                    <a:cubicBezTo>
                      <a:pt x="9" y="3"/>
                      <a:pt x="10" y="5"/>
                      <a:pt x="10" y="7"/>
                    </a:cubicBezTo>
                    <a:cubicBezTo>
                      <a:pt x="10" y="9"/>
                      <a:pt x="8" y="6"/>
                      <a:pt x="7" y="6"/>
                    </a:cubicBezTo>
                    <a:cubicBezTo>
                      <a:pt x="6" y="7"/>
                      <a:pt x="4" y="8"/>
                      <a:pt x="4" y="11"/>
                    </a:cubicBezTo>
                    <a:cubicBezTo>
                      <a:pt x="3" y="14"/>
                      <a:pt x="3" y="15"/>
                      <a:pt x="1" y="14"/>
                    </a:cubicBezTo>
                    <a:cubicBezTo>
                      <a:pt x="0" y="14"/>
                      <a:pt x="0" y="17"/>
                      <a:pt x="0" y="19"/>
                    </a:cubicBezTo>
                    <a:cubicBezTo>
                      <a:pt x="1" y="21"/>
                      <a:pt x="3" y="23"/>
                      <a:pt x="2" y="24"/>
                    </a:cubicBezTo>
                    <a:cubicBezTo>
                      <a:pt x="2" y="25"/>
                      <a:pt x="1" y="26"/>
                      <a:pt x="1" y="27"/>
                    </a:cubicBezTo>
                    <a:cubicBezTo>
                      <a:pt x="1" y="28"/>
                      <a:pt x="1" y="29"/>
                      <a:pt x="2" y="30"/>
                    </a:cubicBezTo>
                    <a:cubicBezTo>
                      <a:pt x="3" y="30"/>
                      <a:pt x="5" y="29"/>
                      <a:pt x="6" y="30"/>
                    </a:cubicBezTo>
                    <a:cubicBezTo>
                      <a:pt x="8" y="30"/>
                      <a:pt x="6" y="30"/>
                      <a:pt x="5" y="31"/>
                    </a:cubicBezTo>
                    <a:cubicBezTo>
                      <a:pt x="3" y="32"/>
                      <a:pt x="6" y="33"/>
                      <a:pt x="6" y="33"/>
                    </a:cubicBezTo>
                    <a:cubicBezTo>
                      <a:pt x="7" y="34"/>
                      <a:pt x="8" y="34"/>
                      <a:pt x="9" y="35"/>
                    </a:cubicBezTo>
                    <a:cubicBezTo>
                      <a:pt x="11" y="36"/>
                      <a:pt x="12" y="37"/>
                      <a:pt x="13" y="39"/>
                    </a:cubicBezTo>
                    <a:cubicBezTo>
                      <a:pt x="14" y="40"/>
                      <a:pt x="14" y="42"/>
                      <a:pt x="15" y="43"/>
                    </a:cubicBezTo>
                    <a:cubicBezTo>
                      <a:pt x="16" y="44"/>
                      <a:pt x="18" y="45"/>
                      <a:pt x="18" y="45"/>
                    </a:cubicBezTo>
                    <a:cubicBezTo>
                      <a:pt x="18" y="45"/>
                      <a:pt x="18" y="44"/>
                      <a:pt x="18" y="41"/>
                    </a:cubicBezTo>
                    <a:cubicBezTo>
                      <a:pt x="18" y="39"/>
                      <a:pt x="18" y="34"/>
                      <a:pt x="19" y="32"/>
                    </a:cubicBezTo>
                    <a:cubicBezTo>
                      <a:pt x="21" y="29"/>
                      <a:pt x="21" y="28"/>
                      <a:pt x="22" y="25"/>
                    </a:cubicBezTo>
                    <a:cubicBezTo>
                      <a:pt x="24" y="23"/>
                      <a:pt x="24" y="24"/>
                      <a:pt x="25" y="26"/>
                    </a:cubicBezTo>
                    <a:cubicBezTo>
                      <a:pt x="25" y="29"/>
                      <a:pt x="26" y="28"/>
                      <a:pt x="29" y="28"/>
                    </a:cubicBezTo>
                    <a:cubicBezTo>
                      <a:pt x="31" y="27"/>
                      <a:pt x="30" y="26"/>
                      <a:pt x="31" y="24"/>
                    </a:cubicBezTo>
                    <a:cubicBezTo>
                      <a:pt x="31" y="21"/>
                      <a:pt x="31" y="21"/>
                      <a:pt x="31" y="21"/>
                    </a:cubicBezTo>
                    <a:lnTo>
                      <a:pt x="28" y="19"/>
                    </a:ln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34" name="Freeform 212">
                <a:extLst>
                  <a:ext uri="{FF2B5EF4-FFF2-40B4-BE49-F238E27FC236}">
                    <a16:creationId xmlns:a16="http://schemas.microsoft.com/office/drawing/2014/main" id="{824B4BB3-5EEB-F679-1448-48C9BE3484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6823" y="5014911"/>
                <a:ext cx="328107" cy="415909"/>
              </a:xfrm>
              <a:custGeom>
                <a:avLst/>
                <a:gdLst>
                  <a:gd name="T0" fmla="*/ 74 w 81"/>
                  <a:gd name="T1" fmla="*/ 72 h 103"/>
                  <a:gd name="T2" fmla="*/ 68 w 81"/>
                  <a:gd name="T3" fmla="*/ 61 h 103"/>
                  <a:gd name="T4" fmla="*/ 72 w 81"/>
                  <a:gd name="T5" fmla="*/ 50 h 103"/>
                  <a:gd name="T6" fmla="*/ 73 w 81"/>
                  <a:gd name="T7" fmla="*/ 41 h 103"/>
                  <a:gd name="T8" fmla="*/ 63 w 81"/>
                  <a:gd name="T9" fmla="*/ 43 h 103"/>
                  <a:gd name="T10" fmla="*/ 55 w 81"/>
                  <a:gd name="T11" fmla="*/ 40 h 103"/>
                  <a:gd name="T12" fmla="*/ 49 w 81"/>
                  <a:gd name="T13" fmla="*/ 34 h 103"/>
                  <a:gd name="T14" fmla="*/ 48 w 81"/>
                  <a:gd name="T15" fmla="*/ 27 h 103"/>
                  <a:gd name="T16" fmla="*/ 38 w 81"/>
                  <a:gd name="T17" fmla="*/ 18 h 103"/>
                  <a:gd name="T18" fmla="*/ 35 w 81"/>
                  <a:gd name="T19" fmla="*/ 9 h 103"/>
                  <a:gd name="T20" fmla="*/ 27 w 81"/>
                  <a:gd name="T21" fmla="*/ 2 h 103"/>
                  <a:gd name="T22" fmla="*/ 15 w 81"/>
                  <a:gd name="T23" fmla="*/ 0 h 103"/>
                  <a:gd name="T24" fmla="*/ 5 w 81"/>
                  <a:gd name="T25" fmla="*/ 4 h 103"/>
                  <a:gd name="T26" fmla="*/ 2 w 81"/>
                  <a:gd name="T27" fmla="*/ 11 h 103"/>
                  <a:gd name="T28" fmla="*/ 4 w 81"/>
                  <a:gd name="T29" fmla="*/ 17 h 103"/>
                  <a:gd name="T30" fmla="*/ 10 w 81"/>
                  <a:gd name="T31" fmla="*/ 25 h 103"/>
                  <a:gd name="T32" fmla="*/ 6 w 81"/>
                  <a:gd name="T33" fmla="*/ 32 h 103"/>
                  <a:gd name="T34" fmla="*/ 10 w 81"/>
                  <a:gd name="T35" fmla="*/ 35 h 103"/>
                  <a:gd name="T36" fmla="*/ 10 w 81"/>
                  <a:gd name="T37" fmla="*/ 49 h 103"/>
                  <a:gd name="T38" fmla="*/ 16 w 81"/>
                  <a:gd name="T39" fmla="*/ 56 h 103"/>
                  <a:gd name="T40" fmla="*/ 11 w 81"/>
                  <a:gd name="T41" fmla="*/ 59 h 103"/>
                  <a:gd name="T42" fmla="*/ 12 w 81"/>
                  <a:gd name="T43" fmla="*/ 67 h 103"/>
                  <a:gd name="T44" fmla="*/ 14 w 81"/>
                  <a:gd name="T45" fmla="*/ 73 h 103"/>
                  <a:gd name="T46" fmla="*/ 27 w 81"/>
                  <a:gd name="T47" fmla="*/ 84 h 103"/>
                  <a:gd name="T48" fmla="*/ 30 w 81"/>
                  <a:gd name="T49" fmla="*/ 81 h 103"/>
                  <a:gd name="T50" fmla="*/ 31 w 81"/>
                  <a:gd name="T51" fmla="*/ 75 h 103"/>
                  <a:gd name="T52" fmla="*/ 34 w 81"/>
                  <a:gd name="T53" fmla="*/ 74 h 103"/>
                  <a:gd name="T54" fmla="*/ 34 w 81"/>
                  <a:gd name="T55" fmla="*/ 76 h 103"/>
                  <a:gd name="T56" fmla="*/ 38 w 81"/>
                  <a:gd name="T57" fmla="*/ 75 h 103"/>
                  <a:gd name="T58" fmla="*/ 43 w 81"/>
                  <a:gd name="T59" fmla="*/ 79 h 103"/>
                  <a:gd name="T60" fmla="*/ 45 w 81"/>
                  <a:gd name="T61" fmla="*/ 82 h 103"/>
                  <a:gd name="T62" fmla="*/ 48 w 81"/>
                  <a:gd name="T63" fmla="*/ 84 h 103"/>
                  <a:gd name="T64" fmla="*/ 51 w 81"/>
                  <a:gd name="T65" fmla="*/ 91 h 103"/>
                  <a:gd name="T66" fmla="*/ 54 w 81"/>
                  <a:gd name="T67" fmla="*/ 94 h 103"/>
                  <a:gd name="T68" fmla="*/ 52 w 81"/>
                  <a:gd name="T69" fmla="*/ 97 h 103"/>
                  <a:gd name="T70" fmla="*/ 53 w 81"/>
                  <a:gd name="T71" fmla="*/ 100 h 103"/>
                  <a:gd name="T72" fmla="*/ 57 w 81"/>
                  <a:gd name="T73" fmla="*/ 102 h 103"/>
                  <a:gd name="T74" fmla="*/ 64 w 81"/>
                  <a:gd name="T75" fmla="*/ 101 h 103"/>
                  <a:gd name="T76" fmla="*/ 70 w 81"/>
                  <a:gd name="T77" fmla="*/ 102 h 103"/>
                  <a:gd name="T78" fmla="*/ 71 w 81"/>
                  <a:gd name="T79" fmla="*/ 95 h 103"/>
                  <a:gd name="T80" fmla="*/ 75 w 81"/>
                  <a:gd name="T81" fmla="*/ 86 h 103"/>
                  <a:gd name="T82" fmla="*/ 78 w 81"/>
                  <a:gd name="T83" fmla="*/ 76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1" h="103">
                    <a:moveTo>
                      <a:pt x="78" y="76"/>
                    </a:moveTo>
                    <a:cubicBezTo>
                      <a:pt x="77" y="74"/>
                      <a:pt x="76" y="72"/>
                      <a:pt x="74" y="72"/>
                    </a:cubicBezTo>
                    <a:cubicBezTo>
                      <a:pt x="72" y="71"/>
                      <a:pt x="72" y="71"/>
                      <a:pt x="70" y="69"/>
                    </a:cubicBezTo>
                    <a:cubicBezTo>
                      <a:pt x="69" y="66"/>
                      <a:pt x="68" y="66"/>
                      <a:pt x="68" y="61"/>
                    </a:cubicBezTo>
                    <a:cubicBezTo>
                      <a:pt x="68" y="57"/>
                      <a:pt x="69" y="57"/>
                      <a:pt x="71" y="55"/>
                    </a:cubicBezTo>
                    <a:cubicBezTo>
                      <a:pt x="73" y="52"/>
                      <a:pt x="72" y="50"/>
                      <a:pt x="72" y="50"/>
                    </a:cubicBezTo>
                    <a:cubicBezTo>
                      <a:pt x="70" y="48"/>
                      <a:pt x="68" y="45"/>
                      <a:pt x="69" y="44"/>
                    </a:cubicBezTo>
                    <a:cubicBezTo>
                      <a:pt x="71" y="42"/>
                      <a:pt x="73" y="41"/>
                      <a:pt x="73" y="41"/>
                    </a:cubicBezTo>
                    <a:cubicBezTo>
                      <a:pt x="72" y="40"/>
                      <a:pt x="71" y="39"/>
                      <a:pt x="69" y="38"/>
                    </a:cubicBezTo>
                    <a:cubicBezTo>
                      <a:pt x="67" y="38"/>
                      <a:pt x="64" y="41"/>
                      <a:pt x="63" y="43"/>
                    </a:cubicBezTo>
                    <a:cubicBezTo>
                      <a:pt x="62" y="45"/>
                      <a:pt x="62" y="43"/>
                      <a:pt x="61" y="40"/>
                    </a:cubicBezTo>
                    <a:cubicBezTo>
                      <a:pt x="59" y="37"/>
                      <a:pt x="58" y="39"/>
                      <a:pt x="55" y="40"/>
                    </a:cubicBezTo>
                    <a:cubicBezTo>
                      <a:pt x="53" y="41"/>
                      <a:pt x="53" y="37"/>
                      <a:pt x="50" y="36"/>
                    </a:cubicBezTo>
                    <a:cubicBezTo>
                      <a:pt x="48" y="34"/>
                      <a:pt x="48" y="35"/>
                      <a:pt x="49" y="34"/>
                    </a:cubicBezTo>
                    <a:cubicBezTo>
                      <a:pt x="50" y="33"/>
                      <a:pt x="50" y="32"/>
                      <a:pt x="49" y="31"/>
                    </a:cubicBezTo>
                    <a:cubicBezTo>
                      <a:pt x="47" y="29"/>
                      <a:pt x="49" y="30"/>
                      <a:pt x="48" y="27"/>
                    </a:cubicBezTo>
                    <a:cubicBezTo>
                      <a:pt x="48" y="24"/>
                      <a:pt x="47" y="26"/>
                      <a:pt x="44" y="25"/>
                    </a:cubicBezTo>
                    <a:cubicBezTo>
                      <a:pt x="42" y="23"/>
                      <a:pt x="41" y="21"/>
                      <a:pt x="38" y="18"/>
                    </a:cubicBezTo>
                    <a:cubicBezTo>
                      <a:pt x="36" y="16"/>
                      <a:pt x="37" y="13"/>
                      <a:pt x="36" y="12"/>
                    </a:cubicBezTo>
                    <a:cubicBezTo>
                      <a:pt x="36" y="10"/>
                      <a:pt x="36" y="10"/>
                      <a:pt x="35" y="9"/>
                    </a:cubicBezTo>
                    <a:cubicBezTo>
                      <a:pt x="34" y="9"/>
                      <a:pt x="32" y="7"/>
                      <a:pt x="30" y="6"/>
                    </a:cubicBezTo>
                    <a:cubicBezTo>
                      <a:pt x="28" y="4"/>
                      <a:pt x="27" y="2"/>
                      <a:pt x="27" y="2"/>
                    </a:cubicBezTo>
                    <a:cubicBezTo>
                      <a:pt x="25" y="1"/>
                      <a:pt x="22" y="0"/>
                      <a:pt x="21" y="0"/>
                    </a:cubicBezTo>
                    <a:cubicBezTo>
                      <a:pt x="19" y="1"/>
                      <a:pt x="17" y="0"/>
                      <a:pt x="15" y="0"/>
                    </a:cubicBezTo>
                    <a:cubicBezTo>
                      <a:pt x="13" y="0"/>
                      <a:pt x="12" y="1"/>
                      <a:pt x="10" y="3"/>
                    </a:cubicBezTo>
                    <a:cubicBezTo>
                      <a:pt x="8" y="5"/>
                      <a:pt x="6" y="4"/>
                      <a:pt x="5" y="4"/>
                    </a:cubicBezTo>
                    <a:cubicBezTo>
                      <a:pt x="3" y="5"/>
                      <a:pt x="0" y="6"/>
                      <a:pt x="0" y="6"/>
                    </a:cubicBezTo>
                    <a:cubicBezTo>
                      <a:pt x="0" y="6"/>
                      <a:pt x="1" y="8"/>
                      <a:pt x="2" y="11"/>
                    </a:cubicBezTo>
                    <a:cubicBezTo>
                      <a:pt x="3" y="14"/>
                      <a:pt x="2" y="14"/>
                      <a:pt x="2" y="15"/>
                    </a:cubicBezTo>
                    <a:cubicBezTo>
                      <a:pt x="3" y="16"/>
                      <a:pt x="5" y="16"/>
                      <a:pt x="4" y="17"/>
                    </a:cubicBezTo>
                    <a:cubicBezTo>
                      <a:pt x="3" y="19"/>
                      <a:pt x="5" y="21"/>
                      <a:pt x="7" y="23"/>
                    </a:cubicBezTo>
                    <a:cubicBezTo>
                      <a:pt x="8" y="24"/>
                      <a:pt x="11" y="25"/>
                      <a:pt x="10" y="25"/>
                    </a:cubicBezTo>
                    <a:cubicBezTo>
                      <a:pt x="9" y="26"/>
                      <a:pt x="5" y="25"/>
                      <a:pt x="6" y="27"/>
                    </a:cubicBezTo>
                    <a:cubicBezTo>
                      <a:pt x="7" y="29"/>
                      <a:pt x="6" y="32"/>
                      <a:pt x="6" y="32"/>
                    </a:cubicBezTo>
                    <a:cubicBezTo>
                      <a:pt x="6" y="32"/>
                      <a:pt x="6" y="31"/>
                      <a:pt x="8" y="32"/>
                    </a:cubicBezTo>
                    <a:cubicBezTo>
                      <a:pt x="9" y="32"/>
                      <a:pt x="10" y="31"/>
                      <a:pt x="10" y="35"/>
                    </a:cubicBezTo>
                    <a:cubicBezTo>
                      <a:pt x="10" y="38"/>
                      <a:pt x="8" y="42"/>
                      <a:pt x="7" y="45"/>
                    </a:cubicBezTo>
                    <a:cubicBezTo>
                      <a:pt x="6" y="47"/>
                      <a:pt x="7" y="48"/>
                      <a:pt x="10" y="49"/>
                    </a:cubicBezTo>
                    <a:cubicBezTo>
                      <a:pt x="12" y="51"/>
                      <a:pt x="12" y="50"/>
                      <a:pt x="13" y="52"/>
                    </a:cubicBezTo>
                    <a:cubicBezTo>
                      <a:pt x="15" y="55"/>
                      <a:pt x="16" y="54"/>
                      <a:pt x="16" y="56"/>
                    </a:cubicBezTo>
                    <a:cubicBezTo>
                      <a:pt x="17" y="58"/>
                      <a:pt x="14" y="57"/>
                      <a:pt x="12" y="56"/>
                    </a:cubicBezTo>
                    <a:cubicBezTo>
                      <a:pt x="10" y="56"/>
                      <a:pt x="11" y="57"/>
                      <a:pt x="11" y="59"/>
                    </a:cubicBezTo>
                    <a:cubicBezTo>
                      <a:pt x="11" y="60"/>
                      <a:pt x="14" y="62"/>
                      <a:pt x="14" y="64"/>
                    </a:cubicBezTo>
                    <a:cubicBezTo>
                      <a:pt x="15" y="65"/>
                      <a:pt x="14" y="67"/>
                      <a:pt x="12" y="67"/>
                    </a:cubicBezTo>
                    <a:cubicBezTo>
                      <a:pt x="10" y="68"/>
                      <a:pt x="10" y="69"/>
                      <a:pt x="8" y="69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27" y="81"/>
                      <a:pt x="27" y="81"/>
                      <a:pt x="27" y="81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31" y="83"/>
                      <a:pt x="31" y="83"/>
                      <a:pt x="31" y="83"/>
                    </a:cubicBezTo>
                    <a:cubicBezTo>
                      <a:pt x="30" y="81"/>
                      <a:pt x="30" y="81"/>
                      <a:pt x="30" y="81"/>
                    </a:cubicBezTo>
                    <a:cubicBezTo>
                      <a:pt x="33" y="79"/>
                      <a:pt x="33" y="79"/>
                      <a:pt x="33" y="79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3" y="73"/>
                      <a:pt x="33" y="73"/>
                      <a:pt x="33" y="73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5" y="74"/>
                      <a:pt x="35" y="74"/>
                      <a:pt x="35" y="74"/>
                    </a:cubicBezTo>
                    <a:cubicBezTo>
                      <a:pt x="34" y="76"/>
                      <a:pt x="34" y="76"/>
                      <a:pt x="34" y="76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3" y="79"/>
                      <a:pt x="43" y="79"/>
                      <a:pt x="43" y="79"/>
                    </a:cubicBezTo>
                    <a:cubicBezTo>
                      <a:pt x="45" y="79"/>
                      <a:pt x="45" y="79"/>
                      <a:pt x="45" y="79"/>
                    </a:cubicBezTo>
                    <a:cubicBezTo>
                      <a:pt x="45" y="82"/>
                      <a:pt x="45" y="82"/>
                      <a:pt x="45" y="82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8" y="84"/>
                      <a:pt x="48" y="84"/>
                      <a:pt x="48" y="84"/>
                    </a:cubicBezTo>
                    <a:cubicBezTo>
                      <a:pt x="48" y="88"/>
                      <a:pt x="48" y="88"/>
                      <a:pt x="48" y="88"/>
                    </a:cubicBezTo>
                    <a:cubicBezTo>
                      <a:pt x="51" y="91"/>
                      <a:pt x="51" y="91"/>
                      <a:pt x="51" y="91"/>
                    </a:cubicBezTo>
                    <a:cubicBezTo>
                      <a:pt x="54" y="92"/>
                      <a:pt x="54" y="92"/>
                      <a:pt x="54" y="92"/>
                    </a:cubicBezTo>
                    <a:cubicBezTo>
                      <a:pt x="54" y="94"/>
                      <a:pt x="54" y="94"/>
                      <a:pt x="54" y="94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52" y="97"/>
                      <a:pt x="52" y="97"/>
                      <a:pt x="52" y="97"/>
                    </a:cubicBezTo>
                    <a:cubicBezTo>
                      <a:pt x="52" y="99"/>
                      <a:pt x="52" y="99"/>
                      <a:pt x="52" y="99"/>
                    </a:cubicBezTo>
                    <a:cubicBezTo>
                      <a:pt x="53" y="100"/>
                      <a:pt x="53" y="100"/>
                      <a:pt x="53" y="100"/>
                    </a:cubicBezTo>
                    <a:cubicBezTo>
                      <a:pt x="54" y="103"/>
                      <a:pt x="54" y="103"/>
                      <a:pt x="54" y="103"/>
                    </a:cubicBezTo>
                    <a:cubicBezTo>
                      <a:pt x="55" y="103"/>
                      <a:pt x="56" y="103"/>
                      <a:pt x="57" y="102"/>
                    </a:cubicBezTo>
                    <a:cubicBezTo>
                      <a:pt x="58" y="101"/>
                      <a:pt x="61" y="100"/>
                      <a:pt x="62" y="101"/>
                    </a:cubicBezTo>
                    <a:cubicBezTo>
                      <a:pt x="63" y="101"/>
                      <a:pt x="63" y="102"/>
                      <a:pt x="64" y="101"/>
                    </a:cubicBezTo>
                    <a:cubicBezTo>
                      <a:pt x="66" y="100"/>
                      <a:pt x="67" y="100"/>
                      <a:pt x="68" y="100"/>
                    </a:cubicBezTo>
                    <a:cubicBezTo>
                      <a:pt x="70" y="100"/>
                      <a:pt x="70" y="102"/>
                      <a:pt x="70" y="102"/>
                    </a:cubicBezTo>
                    <a:cubicBezTo>
                      <a:pt x="70" y="102"/>
                      <a:pt x="72" y="100"/>
                      <a:pt x="72" y="98"/>
                    </a:cubicBezTo>
                    <a:cubicBezTo>
                      <a:pt x="73" y="97"/>
                      <a:pt x="72" y="97"/>
                      <a:pt x="71" y="95"/>
                    </a:cubicBezTo>
                    <a:cubicBezTo>
                      <a:pt x="70" y="94"/>
                      <a:pt x="70" y="91"/>
                      <a:pt x="70" y="87"/>
                    </a:cubicBezTo>
                    <a:cubicBezTo>
                      <a:pt x="71" y="83"/>
                      <a:pt x="74" y="87"/>
                      <a:pt x="75" y="86"/>
                    </a:cubicBezTo>
                    <a:cubicBezTo>
                      <a:pt x="76" y="85"/>
                      <a:pt x="78" y="83"/>
                      <a:pt x="79" y="81"/>
                    </a:cubicBezTo>
                    <a:cubicBezTo>
                      <a:pt x="81" y="79"/>
                      <a:pt x="79" y="78"/>
                      <a:pt x="78" y="76"/>
                    </a:cubicBez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  <p:sp>
            <p:nvSpPr>
              <p:cNvPr id="535" name="Freeform 213">
                <a:extLst>
                  <a:ext uri="{FF2B5EF4-FFF2-40B4-BE49-F238E27FC236}">
                    <a16:creationId xmlns:a16="http://schemas.microsoft.com/office/drawing/2014/main" id="{A72F7410-2C0D-BA24-F0BB-3BB76DD9CD9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23869" y="5310669"/>
                <a:ext cx="121692" cy="169444"/>
              </a:xfrm>
              <a:custGeom>
                <a:avLst/>
                <a:gdLst>
                  <a:gd name="T0" fmla="*/ 28 w 30"/>
                  <a:gd name="T1" fmla="*/ 26 h 42"/>
                  <a:gd name="T2" fmla="*/ 28 w 30"/>
                  <a:gd name="T3" fmla="*/ 24 h 42"/>
                  <a:gd name="T4" fmla="*/ 29 w 30"/>
                  <a:gd name="T5" fmla="*/ 22 h 42"/>
                  <a:gd name="T6" fmla="*/ 30 w 30"/>
                  <a:gd name="T7" fmla="*/ 21 h 42"/>
                  <a:gd name="T8" fmla="*/ 30 w 30"/>
                  <a:gd name="T9" fmla="*/ 19 h 42"/>
                  <a:gd name="T10" fmla="*/ 27 w 30"/>
                  <a:gd name="T11" fmla="*/ 18 h 42"/>
                  <a:gd name="T12" fmla="*/ 24 w 30"/>
                  <a:gd name="T13" fmla="*/ 15 h 42"/>
                  <a:gd name="T14" fmla="*/ 24 w 30"/>
                  <a:gd name="T15" fmla="*/ 11 h 42"/>
                  <a:gd name="T16" fmla="*/ 23 w 30"/>
                  <a:gd name="T17" fmla="*/ 11 h 42"/>
                  <a:gd name="T18" fmla="*/ 21 w 30"/>
                  <a:gd name="T19" fmla="*/ 9 h 42"/>
                  <a:gd name="T20" fmla="*/ 21 w 30"/>
                  <a:gd name="T21" fmla="*/ 6 h 42"/>
                  <a:gd name="T22" fmla="*/ 19 w 30"/>
                  <a:gd name="T23" fmla="*/ 6 h 42"/>
                  <a:gd name="T24" fmla="*/ 17 w 30"/>
                  <a:gd name="T25" fmla="*/ 3 h 42"/>
                  <a:gd name="T26" fmla="*/ 14 w 30"/>
                  <a:gd name="T27" fmla="*/ 2 h 42"/>
                  <a:gd name="T28" fmla="*/ 12 w 30"/>
                  <a:gd name="T29" fmla="*/ 4 h 42"/>
                  <a:gd name="T30" fmla="*/ 10 w 30"/>
                  <a:gd name="T31" fmla="*/ 3 h 42"/>
                  <a:gd name="T32" fmla="*/ 11 w 30"/>
                  <a:gd name="T33" fmla="*/ 1 h 42"/>
                  <a:gd name="T34" fmla="*/ 10 w 30"/>
                  <a:gd name="T35" fmla="*/ 1 h 42"/>
                  <a:gd name="T36" fmla="*/ 9 w 30"/>
                  <a:gd name="T37" fmla="*/ 0 h 42"/>
                  <a:gd name="T38" fmla="*/ 7 w 30"/>
                  <a:gd name="T39" fmla="*/ 2 h 42"/>
                  <a:gd name="T40" fmla="*/ 9 w 30"/>
                  <a:gd name="T41" fmla="*/ 6 h 42"/>
                  <a:gd name="T42" fmla="*/ 6 w 30"/>
                  <a:gd name="T43" fmla="*/ 8 h 42"/>
                  <a:gd name="T44" fmla="*/ 7 w 30"/>
                  <a:gd name="T45" fmla="*/ 10 h 42"/>
                  <a:gd name="T46" fmla="*/ 3 w 30"/>
                  <a:gd name="T47" fmla="*/ 11 h 42"/>
                  <a:gd name="T48" fmla="*/ 0 w 30"/>
                  <a:gd name="T49" fmla="*/ 14 h 42"/>
                  <a:gd name="T50" fmla="*/ 3 w 30"/>
                  <a:gd name="T51" fmla="*/ 16 h 42"/>
                  <a:gd name="T52" fmla="*/ 3 w 30"/>
                  <a:gd name="T53" fmla="*/ 19 h 42"/>
                  <a:gd name="T54" fmla="*/ 4 w 30"/>
                  <a:gd name="T55" fmla="*/ 22 h 42"/>
                  <a:gd name="T56" fmla="*/ 6 w 30"/>
                  <a:gd name="T57" fmla="*/ 26 h 42"/>
                  <a:gd name="T58" fmla="*/ 8 w 30"/>
                  <a:gd name="T59" fmla="*/ 29 h 42"/>
                  <a:gd name="T60" fmla="*/ 12 w 30"/>
                  <a:gd name="T61" fmla="*/ 33 h 42"/>
                  <a:gd name="T62" fmla="*/ 13 w 30"/>
                  <a:gd name="T63" fmla="*/ 42 h 42"/>
                  <a:gd name="T64" fmla="*/ 15 w 30"/>
                  <a:gd name="T65" fmla="*/ 40 h 42"/>
                  <a:gd name="T66" fmla="*/ 17 w 30"/>
                  <a:gd name="T67" fmla="*/ 35 h 42"/>
                  <a:gd name="T68" fmla="*/ 21 w 30"/>
                  <a:gd name="T69" fmla="*/ 32 h 42"/>
                  <a:gd name="T70" fmla="*/ 24 w 30"/>
                  <a:gd name="T71" fmla="*/ 33 h 42"/>
                  <a:gd name="T72" fmla="*/ 26 w 30"/>
                  <a:gd name="T73" fmla="*/ 32 h 42"/>
                  <a:gd name="T74" fmla="*/ 30 w 30"/>
                  <a:gd name="T75" fmla="*/ 30 h 42"/>
                  <a:gd name="T76" fmla="*/ 29 w 30"/>
                  <a:gd name="T77" fmla="*/ 27 h 42"/>
                  <a:gd name="T78" fmla="*/ 28 w 30"/>
                  <a:gd name="T79" fmla="*/ 26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0" h="42">
                    <a:moveTo>
                      <a:pt x="28" y="26"/>
                    </a:moveTo>
                    <a:cubicBezTo>
                      <a:pt x="28" y="24"/>
                      <a:pt x="28" y="24"/>
                      <a:pt x="28" y="24"/>
                    </a:cubicBezTo>
                    <a:cubicBezTo>
                      <a:pt x="29" y="22"/>
                      <a:pt x="29" y="22"/>
                      <a:pt x="29" y="22"/>
                    </a:cubicBezTo>
                    <a:cubicBezTo>
                      <a:pt x="30" y="21"/>
                      <a:pt x="30" y="21"/>
                      <a:pt x="30" y="21"/>
                    </a:cubicBezTo>
                    <a:cubicBezTo>
                      <a:pt x="30" y="19"/>
                      <a:pt x="30" y="19"/>
                      <a:pt x="30" y="19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4" y="15"/>
                      <a:pt x="24" y="15"/>
                      <a:pt x="24" y="15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3" y="11"/>
                      <a:pt x="23" y="11"/>
                      <a:pt x="23" y="11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1" y="6"/>
                      <a:pt x="21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4" y="2"/>
                      <a:pt x="14" y="2"/>
                      <a:pt x="14" y="2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4" y="17"/>
                      <a:pt x="3" y="21"/>
                      <a:pt x="4" y="22"/>
                    </a:cubicBezTo>
                    <a:cubicBezTo>
                      <a:pt x="5" y="24"/>
                      <a:pt x="6" y="24"/>
                      <a:pt x="6" y="26"/>
                    </a:cubicBezTo>
                    <a:cubicBezTo>
                      <a:pt x="6" y="28"/>
                      <a:pt x="7" y="28"/>
                      <a:pt x="8" y="29"/>
                    </a:cubicBezTo>
                    <a:cubicBezTo>
                      <a:pt x="10" y="30"/>
                      <a:pt x="12" y="31"/>
                      <a:pt x="12" y="33"/>
                    </a:cubicBezTo>
                    <a:cubicBezTo>
                      <a:pt x="13" y="35"/>
                      <a:pt x="13" y="42"/>
                      <a:pt x="13" y="42"/>
                    </a:cubicBezTo>
                    <a:cubicBezTo>
                      <a:pt x="14" y="41"/>
                      <a:pt x="14" y="40"/>
                      <a:pt x="15" y="40"/>
                    </a:cubicBezTo>
                    <a:cubicBezTo>
                      <a:pt x="16" y="38"/>
                      <a:pt x="16" y="35"/>
                      <a:pt x="17" y="35"/>
                    </a:cubicBezTo>
                    <a:cubicBezTo>
                      <a:pt x="18" y="35"/>
                      <a:pt x="20" y="33"/>
                      <a:pt x="21" y="32"/>
                    </a:cubicBezTo>
                    <a:cubicBezTo>
                      <a:pt x="22" y="31"/>
                      <a:pt x="23" y="32"/>
                      <a:pt x="24" y="33"/>
                    </a:cubicBezTo>
                    <a:cubicBezTo>
                      <a:pt x="24" y="35"/>
                      <a:pt x="25" y="33"/>
                      <a:pt x="26" y="32"/>
                    </a:cubicBezTo>
                    <a:cubicBezTo>
                      <a:pt x="27" y="30"/>
                      <a:pt x="29" y="29"/>
                      <a:pt x="30" y="30"/>
                    </a:cubicBezTo>
                    <a:cubicBezTo>
                      <a:pt x="29" y="27"/>
                      <a:pt x="29" y="27"/>
                      <a:pt x="29" y="27"/>
                    </a:cubicBezTo>
                    <a:lnTo>
                      <a:pt x="28" y="26"/>
                    </a:lnTo>
                    <a:close/>
                  </a:path>
                </a:pathLst>
              </a:custGeom>
              <a:solidFill>
                <a:srgbClr val="BFBFBF"/>
              </a:solidFill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112541" tIns="56271" rIns="112541" bIns="56271" numCol="1" anchor="t" anchorCtr="0" compatLnSpc="1">
                <a:prstTxWarp prst="textNoShape">
                  <a:avLst/>
                </a:prstTxWarp>
              </a:bodyPr>
              <a:lstStyle/>
              <a:p>
                <a:pPr defTabSz="1219110"/>
                <a:endParaRPr lang="en-US" sz="2216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489" name="Picture 11">
              <a:extLst>
                <a:ext uri="{FF2B5EF4-FFF2-40B4-BE49-F238E27FC236}">
                  <a16:creationId xmlns:a16="http://schemas.microsoft.com/office/drawing/2014/main" id="{79B7DDC8-BB6E-287B-C9AC-9ED48D39BB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62026" y="1977268"/>
              <a:ext cx="646014" cy="18820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" name="Foliennummernplatzhalter 7">
            <a:extLst>
              <a:ext uri="{FF2B5EF4-FFF2-40B4-BE49-F238E27FC236}">
                <a16:creationId xmlns:a16="http://schemas.microsoft.com/office/drawing/2014/main" id="{762811E2-E59C-E493-A1F7-2006565356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2000" y="6513601"/>
            <a:ext cx="364800" cy="168679"/>
          </a:xfrm>
        </p:spPr>
        <p:txBody>
          <a:bodyPr/>
          <a:lstStyle/>
          <a:p>
            <a:pPr algn="r"/>
            <a:fld id="{93C795C4-4A26-412B-AA90-98E97FF83D41}" type="slidenum">
              <a:rPr lang="de-DE" sz="933">
                <a:solidFill>
                  <a:schemeClr val="tx1"/>
                </a:solidFill>
              </a:rPr>
              <a:pPr algn="r"/>
              <a:t>1</a:t>
            </a:fld>
            <a:endParaRPr lang="de-DE" sz="933" dirty="0">
              <a:solidFill>
                <a:schemeClr val="tx1"/>
              </a:solidFill>
            </a:endParaRPr>
          </a:p>
        </p:txBody>
      </p:sp>
      <p:sp>
        <p:nvSpPr>
          <p:cNvPr id="4" name="Fußzeilenplatzhalter 2">
            <a:extLst>
              <a:ext uri="{FF2B5EF4-FFF2-40B4-BE49-F238E27FC236}">
                <a16:creationId xmlns:a16="http://schemas.microsoft.com/office/drawing/2014/main" id="{8BE19876-B60A-6CCC-11F4-82A622C7A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501651" y="6513601"/>
            <a:ext cx="7056000" cy="172697"/>
          </a:xfrm>
        </p:spPr>
        <p:txBody>
          <a:bodyPr/>
          <a:lstStyle/>
          <a:p>
            <a:r>
              <a:rPr lang="en-GB" dirty="0"/>
              <a:t>E.ON Energy Infrastructure Solutions</a:t>
            </a:r>
          </a:p>
        </p:txBody>
      </p:sp>
    </p:spTree>
    <p:extLst>
      <p:ext uri="{BB962C8B-B14F-4D97-AF65-F5344CB8AC3E}">
        <p14:creationId xmlns:p14="http://schemas.microsoft.com/office/powerpoint/2010/main" val="18482101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kt 67" hidden="1">
            <a:extLst>
              <a:ext uri="{FF2B5EF4-FFF2-40B4-BE49-F238E27FC236}">
                <a16:creationId xmlns:a16="http://schemas.microsoft.com/office/drawing/2014/main" id="{54E349A3-A29C-5BD0-933A-7EC8881448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68" name="Objekt 67" hidden="1">
                        <a:extLst>
                          <a:ext uri="{FF2B5EF4-FFF2-40B4-BE49-F238E27FC236}">
                            <a16:creationId xmlns:a16="http://schemas.microsoft.com/office/drawing/2014/main" id="{54E349A3-A29C-5BD0-933A-7EC8881448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a 3">
            <a:extLst>
              <a:ext uri="{FF2B5EF4-FFF2-40B4-BE49-F238E27FC236}">
                <a16:creationId xmlns:a16="http://schemas.microsoft.com/office/drawing/2014/main" id="{D867B572-1FC8-49A4-B60F-3BA5AC9A4FEC}"/>
              </a:ext>
            </a:extLst>
          </p:cNvPr>
          <p:cNvGrpSpPr/>
          <p:nvPr/>
        </p:nvGrpSpPr>
        <p:grpSpPr>
          <a:xfrm>
            <a:off x="1" y="1278534"/>
            <a:ext cx="7670908" cy="5026695"/>
            <a:chOff x="4498688" y="1172980"/>
            <a:chExt cx="7670908" cy="5026695"/>
          </a:xfrm>
        </p:grpSpPr>
        <p:grpSp>
          <p:nvGrpSpPr>
            <p:cNvPr id="5" name="Grupa 4">
              <a:extLst>
                <a:ext uri="{FF2B5EF4-FFF2-40B4-BE49-F238E27FC236}">
                  <a16:creationId xmlns:a16="http://schemas.microsoft.com/office/drawing/2014/main" id="{D2C4D56A-754D-424E-8BD6-58082B81C38A}"/>
                </a:ext>
              </a:extLst>
            </p:cNvPr>
            <p:cNvGrpSpPr/>
            <p:nvPr/>
          </p:nvGrpSpPr>
          <p:grpSpPr>
            <a:xfrm>
              <a:off x="4498688" y="1172980"/>
              <a:ext cx="7670908" cy="5026695"/>
              <a:chOff x="4498688" y="1172980"/>
              <a:chExt cx="7670908" cy="5026695"/>
            </a:xfrm>
          </p:grpSpPr>
          <p:grpSp>
            <p:nvGrpSpPr>
              <p:cNvPr id="7" name="Grupa 6">
                <a:extLst>
                  <a:ext uri="{FF2B5EF4-FFF2-40B4-BE49-F238E27FC236}">
                    <a16:creationId xmlns:a16="http://schemas.microsoft.com/office/drawing/2014/main" id="{0F483C1F-5C8D-4AE6-8738-D62C7C18166E}"/>
                  </a:ext>
                </a:extLst>
              </p:cNvPr>
              <p:cNvGrpSpPr/>
              <p:nvPr/>
            </p:nvGrpSpPr>
            <p:grpSpPr>
              <a:xfrm>
                <a:off x="4806698" y="1172980"/>
                <a:ext cx="7362898" cy="4827955"/>
                <a:chOff x="4806698" y="1426980"/>
                <a:chExt cx="7362898" cy="4827955"/>
              </a:xfrm>
            </p:grpSpPr>
            <p:grpSp>
              <p:nvGrpSpPr>
                <p:cNvPr id="11" name="Grupa 10">
                  <a:extLst>
                    <a:ext uri="{FF2B5EF4-FFF2-40B4-BE49-F238E27FC236}">
                      <a16:creationId xmlns:a16="http://schemas.microsoft.com/office/drawing/2014/main" id="{2209989F-490D-4BF0-AD90-4C054484B37A}"/>
                    </a:ext>
                  </a:extLst>
                </p:cNvPr>
                <p:cNvGrpSpPr/>
                <p:nvPr/>
              </p:nvGrpSpPr>
              <p:grpSpPr>
                <a:xfrm>
                  <a:off x="4806698" y="1426980"/>
                  <a:ext cx="7362898" cy="4827955"/>
                  <a:chOff x="4829210" y="1740480"/>
                  <a:chExt cx="7362898" cy="4827955"/>
                </a:xfrm>
              </p:grpSpPr>
              <p:pic>
                <p:nvPicPr>
                  <p:cNvPr id="17" name="Picture 6" descr="Map&amp;#xA;&amp;#xA;Description automatically generated">
                    <a:extLst>
                      <a:ext uri="{FF2B5EF4-FFF2-40B4-BE49-F238E27FC236}">
                        <a16:creationId xmlns:a16="http://schemas.microsoft.com/office/drawing/2014/main" id="{FDD35817-BF8E-4550-B3DA-84433B8D411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 cstate="print">
                    <a:extLst>
                      <a:ext uri="{BEBA8EAE-BF5A-486C-A8C5-ECC9F3942E4B}">
                        <a14:imgProps xmlns:a14="http://schemas.microsoft.com/office/drawing/2010/main">
                          <a14:imgLayer r:embed="rId8">
                            <a14:imgEffect>
                              <a14:brightnessContrast bright="20000"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928871" y="1740480"/>
                    <a:ext cx="5224775" cy="4827955"/>
                  </a:xfrm>
                  <a:prstGeom prst="rect">
                    <a:avLst/>
                  </a:prstGeom>
                  <a:solidFill>
                    <a:srgbClr val="D9D9D9"/>
                  </a:solidFill>
                </p:spPr>
              </p:pic>
              <p:pic>
                <p:nvPicPr>
                  <p:cNvPr id="18" name="Picture 5" descr="Znalezione obrazy dla zapytania: e.on logo">
                    <a:extLst>
                      <a:ext uri="{FF2B5EF4-FFF2-40B4-BE49-F238E27FC236}">
                        <a16:creationId xmlns:a16="http://schemas.microsoft.com/office/drawing/2014/main" id="{82FBB875-DBEA-4CB7-A563-9834E6BC99C1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10673406" y="3453468"/>
                    <a:ext cx="948553" cy="276661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grpSp>
                <p:nvGrpSpPr>
                  <p:cNvPr id="19" name="Grupa 18">
                    <a:extLst>
                      <a:ext uri="{FF2B5EF4-FFF2-40B4-BE49-F238E27FC236}">
                        <a16:creationId xmlns:a16="http://schemas.microsoft.com/office/drawing/2014/main" id="{6B9F726D-96B3-43F3-B73E-71810BE6CC50}"/>
                      </a:ext>
                    </a:extLst>
                  </p:cNvPr>
                  <p:cNvGrpSpPr/>
                  <p:nvPr/>
                </p:nvGrpSpPr>
                <p:grpSpPr>
                  <a:xfrm>
                    <a:off x="4829210" y="2402708"/>
                    <a:ext cx="7362898" cy="3151650"/>
                    <a:chOff x="4829210" y="2402708"/>
                    <a:chExt cx="7362898" cy="3151650"/>
                  </a:xfrm>
                </p:grpSpPr>
                <p:sp>
                  <p:nvSpPr>
                    <p:cNvPr id="20" name="Text Box 41">
                      <a:extLst>
                        <a:ext uri="{FF2B5EF4-FFF2-40B4-BE49-F238E27FC236}">
                          <a16:creationId xmlns:a16="http://schemas.microsoft.com/office/drawing/2014/main" id="{8BEBAD7A-F72B-44DF-BA6E-FAB7781A402A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9507214" y="3503708"/>
                      <a:ext cx="765915" cy="309380"/>
                    </a:xfrm>
                    <a:prstGeom prst="rect">
                      <a:avLst/>
                    </a:prstGeom>
                    <a:noFill/>
                    <a:ln w="12700">
                      <a:noFill/>
                      <a:miter lim="800000"/>
                      <a:headEnd/>
                      <a:tailEnd type="none" w="med" len="lg"/>
                    </a:ln>
                  </p:spPr>
                  <p:txBody>
                    <a:bodyPr wrap="none" lIns="0" tIns="0" rIns="0" bIns="0">
                      <a:spAutoFit/>
                    </a:bodyPr>
                    <a:lstStyle/>
                    <a:p>
                      <a:pPr defTabSz="914377">
                        <a:lnSpc>
                          <a:spcPts val="2667"/>
                        </a:lnSpc>
                        <a:defRPr/>
                      </a:pPr>
                      <a:r>
                        <a:rPr lang="en-GB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War</a:t>
                      </a:r>
                      <a:r>
                        <a:rPr lang="pl-PL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szawa</a:t>
                      </a:r>
                      <a:endParaRPr lang="en-GB" sz="1467" noProof="1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" name="Ellipse 45">
                      <a:extLst>
                        <a:ext uri="{FF2B5EF4-FFF2-40B4-BE49-F238E27FC236}">
                          <a16:creationId xmlns:a16="http://schemas.microsoft.com/office/drawing/2014/main" id="{2AE794EA-E306-49D0-9059-867E1ED1F3D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417272" y="3787271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" name="Text Box 41">
                      <a:extLst>
                        <a:ext uri="{FF2B5EF4-FFF2-40B4-BE49-F238E27FC236}">
                          <a16:creationId xmlns:a16="http://schemas.microsoft.com/office/drawing/2014/main" id="{77108A7D-2EEE-4A6B-984B-473B778EA939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6347513" y="2744512"/>
                      <a:ext cx="621645" cy="309380"/>
                    </a:xfrm>
                    <a:prstGeom prst="rect">
                      <a:avLst/>
                    </a:prstGeom>
                    <a:noFill/>
                    <a:ln w="12700">
                      <a:noFill/>
                      <a:miter lim="800000"/>
                      <a:headEnd/>
                      <a:tailEnd type="none" w="med" len="lg"/>
                    </a:ln>
                  </p:spPr>
                  <p:txBody>
                    <a:bodyPr wrap="none" lIns="0" tIns="0" rIns="0" bIns="0">
                      <a:spAutoFit/>
                    </a:bodyPr>
                    <a:lstStyle/>
                    <a:p>
                      <a:pPr defTabSz="914377">
                        <a:lnSpc>
                          <a:spcPts val="2667"/>
                        </a:lnSpc>
                        <a:defRPr/>
                      </a:pPr>
                      <a:r>
                        <a:rPr lang="en-GB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Szczecin</a:t>
                      </a:r>
                    </a:p>
                  </p:txBody>
                </p:sp>
                <p:sp>
                  <p:nvSpPr>
                    <p:cNvPr id="23" name="Ellipse 45">
                      <a:extLst>
                        <a:ext uri="{FF2B5EF4-FFF2-40B4-BE49-F238E27FC236}">
                          <a16:creationId xmlns:a16="http://schemas.microsoft.com/office/drawing/2014/main" id="{277C89B6-28F3-44C8-AAE4-3A3EAC5E8325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224947" y="2905589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4" name="Text Box 41">
                      <a:extLst>
                        <a:ext uri="{FF2B5EF4-FFF2-40B4-BE49-F238E27FC236}">
                          <a16:creationId xmlns:a16="http://schemas.microsoft.com/office/drawing/2014/main" id="{7D541B7B-FA77-4D4B-A430-78B994CC361F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7995272" y="5064519"/>
                      <a:ext cx="460062" cy="309380"/>
                    </a:xfrm>
                    <a:prstGeom prst="rect">
                      <a:avLst/>
                    </a:prstGeom>
                    <a:noFill/>
                    <a:ln w="12700">
                      <a:noFill/>
                      <a:miter lim="800000"/>
                      <a:headEnd/>
                      <a:tailEnd type="none" w="med" len="lg"/>
                    </a:ln>
                  </p:spPr>
                  <p:txBody>
                    <a:bodyPr wrap="none" lIns="0" tIns="0" rIns="0" bIns="0">
                      <a:spAutoFit/>
                    </a:bodyPr>
                    <a:lstStyle/>
                    <a:p>
                      <a:pPr defTabSz="914377">
                        <a:lnSpc>
                          <a:spcPts val="2667"/>
                        </a:lnSpc>
                        <a:defRPr/>
                      </a:pPr>
                      <a:r>
                        <a:rPr lang="en-GB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Opole</a:t>
                      </a:r>
                    </a:p>
                  </p:txBody>
                </p:sp>
                <p:sp>
                  <p:nvSpPr>
                    <p:cNvPr id="25" name="Text Box 41">
                      <a:extLst>
                        <a:ext uri="{FF2B5EF4-FFF2-40B4-BE49-F238E27FC236}">
                          <a16:creationId xmlns:a16="http://schemas.microsoft.com/office/drawing/2014/main" id="{CF8B070C-0DB9-45A5-8DFB-C6D0E0FCE9E3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9562350" y="4560868"/>
                      <a:ext cx="1548437" cy="309380"/>
                    </a:xfrm>
                    <a:prstGeom prst="rect">
                      <a:avLst/>
                    </a:prstGeom>
                    <a:noFill/>
                    <a:ln w="12700">
                      <a:noFill/>
                      <a:miter lim="800000"/>
                      <a:headEnd/>
                      <a:tailEnd type="none" w="med" len="lg"/>
                    </a:ln>
                  </p:spPr>
                  <p:txBody>
                    <a:bodyPr wrap="none" lIns="0" tIns="0" rIns="0" bIns="0">
                      <a:spAutoFit/>
                    </a:bodyPr>
                    <a:lstStyle/>
                    <a:p>
                      <a:pPr defTabSz="914377">
                        <a:lnSpc>
                          <a:spcPts val="2667"/>
                        </a:lnSpc>
                        <a:defRPr/>
                      </a:pPr>
                      <a:r>
                        <a:rPr lang="en-GB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Skarżysko-Kamienna</a:t>
                      </a:r>
                    </a:p>
                  </p:txBody>
                </p:sp>
                <p:sp>
                  <p:nvSpPr>
                    <p:cNvPr id="26" name="Ellipse 45">
                      <a:extLst>
                        <a:ext uri="{FF2B5EF4-FFF2-40B4-BE49-F238E27FC236}">
                          <a16:creationId xmlns:a16="http://schemas.microsoft.com/office/drawing/2014/main" id="{B8B37E7D-B709-441E-8651-1C76B00D763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463621" y="4834945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7" name="Ellipse 45">
                      <a:extLst>
                        <a:ext uri="{FF2B5EF4-FFF2-40B4-BE49-F238E27FC236}">
                          <a16:creationId xmlns:a16="http://schemas.microsoft.com/office/drawing/2014/main" id="{8C52EE66-9756-44D8-AF4F-FD30E1967EC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800105" y="2669935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8" name="Ellipse 45">
                      <a:extLst>
                        <a:ext uri="{FF2B5EF4-FFF2-40B4-BE49-F238E27FC236}">
                          <a16:creationId xmlns:a16="http://schemas.microsoft.com/office/drawing/2014/main" id="{2557A722-CB76-49A4-9260-52EE175A8EF7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027612" y="2402708"/>
                      <a:ext cx="76216" cy="75669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9" name="Ellipse 45">
                      <a:extLst>
                        <a:ext uri="{FF2B5EF4-FFF2-40B4-BE49-F238E27FC236}">
                          <a16:creationId xmlns:a16="http://schemas.microsoft.com/office/drawing/2014/main" id="{C3EC5E7F-E8AF-408E-83A6-09E5AF461AAE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600071" y="2617880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0" name="Ellipse 45">
                      <a:extLst>
                        <a:ext uri="{FF2B5EF4-FFF2-40B4-BE49-F238E27FC236}">
                          <a16:creationId xmlns:a16="http://schemas.microsoft.com/office/drawing/2014/main" id="{76CCE0DE-45EE-4240-88B1-E4C49D24C2D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605986" y="3104380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" name="Ellipse 45">
                      <a:extLst>
                        <a:ext uri="{FF2B5EF4-FFF2-40B4-BE49-F238E27FC236}">
                          <a16:creationId xmlns:a16="http://schemas.microsoft.com/office/drawing/2014/main" id="{FB811DF0-3ADF-451A-A436-63162E2C346D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528691" y="3184604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2" name="Ellipse 45">
                      <a:extLst>
                        <a:ext uri="{FF2B5EF4-FFF2-40B4-BE49-F238E27FC236}">
                          <a16:creationId xmlns:a16="http://schemas.microsoft.com/office/drawing/2014/main" id="{0A25D4FE-2935-489B-979C-99FA74813C79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309317" y="3326803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" name="Ellipse 45">
                      <a:extLst>
                        <a:ext uri="{FF2B5EF4-FFF2-40B4-BE49-F238E27FC236}">
                          <a16:creationId xmlns:a16="http://schemas.microsoft.com/office/drawing/2014/main" id="{046E3768-28D8-412F-8754-2F46CA018C2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584793" y="3410473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4" name="Ellipse 45">
                      <a:extLst>
                        <a:ext uri="{FF2B5EF4-FFF2-40B4-BE49-F238E27FC236}">
                          <a16:creationId xmlns:a16="http://schemas.microsoft.com/office/drawing/2014/main" id="{89822018-679D-427F-AD57-C0E052589B3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259919" y="3446526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5" name="Ellipse 45">
                      <a:extLst>
                        <a:ext uri="{FF2B5EF4-FFF2-40B4-BE49-F238E27FC236}">
                          <a16:creationId xmlns:a16="http://schemas.microsoft.com/office/drawing/2014/main" id="{FF511734-0B4F-4F0B-9D15-9B6F3F61852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6227587" y="3788168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6" name="Ellipse 45">
                      <a:extLst>
                        <a:ext uri="{FF2B5EF4-FFF2-40B4-BE49-F238E27FC236}">
                          <a16:creationId xmlns:a16="http://schemas.microsoft.com/office/drawing/2014/main" id="{BD0F4549-752D-4126-97E8-3FDCA51F20EF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105048" y="4949071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" name="Ellipse 45">
                      <a:extLst>
                        <a:ext uri="{FF2B5EF4-FFF2-40B4-BE49-F238E27FC236}">
                          <a16:creationId xmlns:a16="http://schemas.microsoft.com/office/drawing/2014/main" id="{53CDDA66-081C-418F-892C-508DBD7D515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8214989" y="5478142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8" name="Ellipse 45">
                      <a:extLst>
                        <a:ext uri="{FF2B5EF4-FFF2-40B4-BE49-F238E27FC236}">
                          <a16:creationId xmlns:a16="http://schemas.microsoft.com/office/drawing/2014/main" id="{53B7AD76-A129-4D75-B24F-5D64F3B4926F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537876" y="4927827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9" name="Ellipse 45">
                      <a:extLst>
                        <a:ext uri="{FF2B5EF4-FFF2-40B4-BE49-F238E27FC236}">
                          <a16:creationId xmlns:a16="http://schemas.microsoft.com/office/drawing/2014/main" id="{AC9C3BCB-596B-41C9-89DC-223BD1183ED1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041677" y="4389983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0" name="Ellipse 45">
                      <a:extLst>
                        <a:ext uri="{FF2B5EF4-FFF2-40B4-BE49-F238E27FC236}">
                          <a16:creationId xmlns:a16="http://schemas.microsoft.com/office/drawing/2014/main" id="{00585F52-3730-4B31-814D-4434EE9910C3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9244552" y="3879890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1" name="Ellipse 45">
                      <a:extLst>
                        <a:ext uri="{FF2B5EF4-FFF2-40B4-BE49-F238E27FC236}">
                          <a16:creationId xmlns:a16="http://schemas.microsoft.com/office/drawing/2014/main" id="{80151FDD-C659-4FE1-8281-33C67C5C3E7A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10519699" y="3108789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Prostokąt 73">
                      <a:extLst>
                        <a:ext uri="{FF2B5EF4-FFF2-40B4-BE49-F238E27FC236}">
                          <a16:creationId xmlns:a16="http://schemas.microsoft.com/office/drawing/2014/main" id="{2568DB2C-AA33-423B-B95C-3FFF0FC3215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80364" y="3922362"/>
                      <a:ext cx="1611744" cy="79722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defTabSz="914377">
                        <a:defRPr/>
                      </a:pPr>
                      <a:endParaRPr lang="pl-PL" sz="1000" dirty="0">
                        <a:solidFill>
                          <a:srgbClr val="FFFFFF">
                            <a:lumMod val="50000"/>
                          </a:srgbClr>
                        </a:solidFill>
                        <a:latin typeface="EON Brix Sans"/>
                        <a:cs typeface="Arial" panose="020B0604020202020204" pitchFamily="34" charset="0"/>
                      </a:endParaRPr>
                    </a:p>
                    <a:p>
                      <a:pPr defTabSz="914377">
                        <a:defRPr/>
                      </a:pPr>
                      <a:r>
                        <a:rPr lang="pl-PL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.ON Polska</a:t>
                      </a:r>
                    </a:p>
                    <a:p>
                      <a:pPr defTabSz="914377">
                        <a:defRPr/>
                      </a:pPr>
                      <a:r>
                        <a:rPr lang="en-GB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.ON </a:t>
                      </a:r>
                      <a:r>
                        <a:rPr lang="en-GB" sz="1000" dirty="0" err="1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dis</a:t>
                      </a:r>
                      <a:r>
                        <a:rPr lang="en-GB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000" dirty="0" err="1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nergia</a:t>
                      </a:r>
                      <a:endParaRPr lang="pl-PL" sz="1000" dirty="0">
                        <a:solidFill>
                          <a:srgbClr val="FFFFFF">
                            <a:lumMod val="50000"/>
                          </a:srgbClr>
                        </a:solidFill>
                        <a:latin typeface="EON Brix Sans"/>
                        <a:cs typeface="Arial" panose="020B0604020202020204" pitchFamily="34" charset="0"/>
                      </a:endParaRPr>
                    </a:p>
                    <a:p>
                      <a:pPr defTabSz="914377">
                        <a:defRPr/>
                      </a:pPr>
                      <a:r>
                        <a:rPr lang="pl-PL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STOEN Operator</a:t>
                      </a:r>
                      <a:endParaRPr lang="en-GB" sz="1000" dirty="0">
                        <a:solidFill>
                          <a:srgbClr val="FFFFFF">
                            <a:lumMod val="50000"/>
                          </a:srgbClr>
                        </a:solidFill>
                        <a:latin typeface="EON Brix Sans"/>
                        <a:cs typeface="Arial" panose="020B0604020202020204" pitchFamily="34" charset="0"/>
                      </a:endParaRPr>
                    </a:p>
                    <a:p>
                      <a:pPr defTabSz="914377">
                        <a:defRPr/>
                      </a:pPr>
                      <a:r>
                        <a:rPr lang="pl-PL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.ON Polska Solutions</a:t>
                      </a:r>
                    </a:p>
                    <a:p>
                      <a:pPr defTabSz="914377">
                        <a:defRPr/>
                      </a:pPr>
                      <a:r>
                        <a:rPr lang="pl-PL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.ON Polska Operations</a:t>
                      </a:r>
                    </a:p>
                    <a:p>
                      <a:pPr defTabSz="914377">
                        <a:defRPr/>
                      </a:pPr>
                      <a:r>
                        <a:rPr lang="pl-PL" sz="1000" dirty="0">
                          <a:solidFill>
                            <a:srgbClr val="FFFFFF">
                              <a:lumMod val="50000"/>
                            </a:srgbClr>
                          </a:solidFill>
                          <a:latin typeface="EON Brix Sans"/>
                          <a:cs typeface="Arial" panose="020B0604020202020204" pitchFamily="34" charset="0"/>
                        </a:rPr>
                        <a:t>E.ON Foton</a:t>
                      </a:r>
                    </a:p>
                    <a:p>
                      <a:pPr defTabSz="914377">
                        <a:defRPr/>
                      </a:pPr>
                      <a:endParaRPr lang="pl-PL" sz="1000" dirty="0">
                        <a:solidFill>
                          <a:srgbClr val="FFFFFF">
                            <a:lumMod val="50000"/>
                          </a:srgbClr>
                        </a:solidFill>
                        <a:latin typeface="EON Brix Sans"/>
                        <a:cs typeface="Arial" panose="020B0604020202020204" pitchFamily="34" charset="0"/>
                      </a:endParaRPr>
                    </a:p>
                    <a:p>
                      <a:pPr defTabSz="914377">
                        <a:defRPr/>
                      </a:pPr>
                      <a:endParaRPr lang="en-GB" sz="1000" dirty="0">
                        <a:solidFill>
                          <a:srgbClr val="FFFFFF">
                            <a:lumMod val="50000"/>
                          </a:srgbClr>
                        </a:solidFill>
                        <a:latin typeface="EON Brix Sans"/>
                        <a:cs typeface="Arial" panose="020B0604020202020204" pitchFamily="34" charset="0"/>
                      </a:endParaRPr>
                    </a:p>
                  </p:txBody>
                </p:sp>
                <p:pic>
                  <p:nvPicPr>
                    <p:cNvPr id="43" name="Picture 62" descr="Znalezione obrazy dla zapytania: sec szczecin logo">
                      <a:extLst>
                        <a:ext uri="{FF2B5EF4-FFF2-40B4-BE49-F238E27FC236}">
                          <a16:creationId xmlns:a16="http://schemas.microsoft.com/office/drawing/2014/main" id="{E1C13EDD-BD85-4C73-9910-EB2F20BCF461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0" cstate="print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837496" y="2478377"/>
                      <a:ext cx="1036177" cy="38856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4" name="Picture 64" descr="Znalezione obrazy dla zapytania: eco opole logo">
                      <a:extLst>
                        <a:ext uri="{FF2B5EF4-FFF2-40B4-BE49-F238E27FC236}">
                          <a16:creationId xmlns:a16="http://schemas.microsoft.com/office/drawing/2014/main" id="{128EF3BB-ED00-4965-BAA5-F31332A390EE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1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5345772" y="5083267"/>
                      <a:ext cx="849699" cy="31863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5" name="Picture 66" descr="Znalezione obrazy dla zapytania: celsium logo">
                      <a:extLst>
                        <a:ext uri="{FF2B5EF4-FFF2-40B4-BE49-F238E27FC236}">
                          <a16:creationId xmlns:a16="http://schemas.microsoft.com/office/drawing/2014/main" id="{7204B6F1-4CDC-47E9-96D4-0D1FA99BAEA5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12" cstate="print">
                      <a:clrChange>
                        <a:clrFrom>
                          <a:srgbClr val="FFFFFF"/>
                        </a:clrFrom>
                        <a:clrTo>
                          <a:srgbClr val="FFFFFF">
                            <a:alpha val="0"/>
                          </a:srgbClr>
                        </a:clrTo>
                      </a:clrChang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10913048" y="4897736"/>
                      <a:ext cx="982305" cy="377957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cxnSp>
                  <p:nvCxnSpPr>
                    <p:cNvPr id="46" name="Straight Connector 9">
                      <a:extLst>
                        <a:ext uri="{FF2B5EF4-FFF2-40B4-BE49-F238E27FC236}">
                          <a16:creationId xmlns:a16="http://schemas.microsoft.com/office/drawing/2014/main" id="{FE94558F-25C2-4D97-8A72-96D7E937DBEB}"/>
                        </a:ext>
                      </a:extLst>
                    </p:cNvPr>
                    <p:cNvCxnSpPr/>
                    <p:nvPr/>
                  </p:nvCxnSpPr>
                  <p:spPr>
                    <a:xfrm>
                      <a:off x="4829210" y="2940433"/>
                      <a:ext cx="1395737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7" name="Straight Connector 191">
                      <a:extLst>
                        <a:ext uri="{FF2B5EF4-FFF2-40B4-BE49-F238E27FC236}">
                          <a16:creationId xmlns:a16="http://schemas.microsoft.com/office/drawing/2014/main" id="{0921B07D-C361-4EE0-A53D-4C0D8360015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5428388" y="5513466"/>
                      <a:ext cx="2757859" cy="5731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8" name="Straight Connector 192">
                      <a:extLst>
                        <a:ext uri="{FF2B5EF4-FFF2-40B4-BE49-F238E27FC236}">
                          <a16:creationId xmlns:a16="http://schemas.microsoft.com/office/drawing/2014/main" id="{8358717C-B991-4240-866F-FE57EA251F3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07214" y="3797544"/>
                      <a:ext cx="2307306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9" name="Straight Connector 193">
                      <a:extLst>
                        <a:ext uri="{FF2B5EF4-FFF2-40B4-BE49-F238E27FC236}">
                          <a16:creationId xmlns:a16="http://schemas.microsoft.com/office/drawing/2014/main" id="{4AE103C0-4421-4363-A86B-0A5D0080518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27400" y="4875245"/>
                      <a:ext cx="2307307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0" name="Ellipse 45">
                      <a:extLst>
                        <a:ext uri="{FF2B5EF4-FFF2-40B4-BE49-F238E27FC236}">
                          <a16:creationId xmlns:a16="http://schemas.microsoft.com/office/drawing/2014/main" id="{80630DDB-17DE-451F-BE16-B2D829F0466B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8214989" y="3326803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pic>
                  <p:nvPicPr>
                    <p:cNvPr id="51" name="Obraz 50">
                      <a:extLst>
                        <a:ext uri="{FF2B5EF4-FFF2-40B4-BE49-F238E27FC236}">
                          <a16:creationId xmlns:a16="http://schemas.microsoft.com/office/drawing/2014/main" id="{71C67A8D-3C7E-489F-96C7-D4492D95D844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13"/>
                    <a:srcRect t="11123" b="26764"/>
                    <a:stretch/>
                  </p:blipFill>
                  <p:spPr>
                    <a:xfrm>
                      <a:off x="10755408" y="2526842"/>
                      <a:ext cx="648792" cy="385249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52" name="Ellipse 45">
                      <a:extLst>
                        <a:ext uri="{FF2B5EF4-FFF2-40B4-BE49-F238E27FC236}">
                          <a16:creationId xmlns:a16="http://schemas.microsoft.com/office/drawing/2014/main" id="{05581C5D-4F8F-40A7-AA6B-1B5BFEBAAA92}"/>
                        </a:ext>
                      </a:extLst>
                    </p:cNvPr>
                    <p:cNvSpPr/>
                    <p:nvPr/>
                  </p:nvSpPr>
                  <p:spPr bwMode="auto">
                    <a:xfrm>
                      <a:off x="7559876" y="4010930"/>
                      <a:ext cx="76216" cy="76216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 w="1270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defTabSz="914377">
                        <a:defRPr/>
                      </a:pPr>
                      <a:endParaRPr lang="en-GB" sz="1467">
                        <a:ln w="9525">
                          <a:solidFill>
                            <a:srgbClr val="000000"/>
                          </a:solidFill>
                        </a:ln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53" name="Text Box 41">
                      <a:extLst>
                        <a:ext uri="{FF2B5EF4-FFF2-40B4-BE49-F238E27FC236}">
                          <a16:creationId xmlns:a16="http://schemas.microsoft.com/office/drawing/2014/main" id="{E933C345-C8AE-49EE-B604-D8ED86ECE087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gray">
                    <a:xfrm>
                      <a:off x="7089843" y="4010931"/>
                      <a:ext cx="677249" cy="309380"/>
                    </a:xfrm>
                    <a:prstGeom prst="rect">
                      <a:avLst/>
                    </a:prstGeom>
                    <a:noFill/>
                    <a:ln w="12700">
                      <a:noFill/>
                      <a:miter lim="800000"/>
                      <a:headEnd/>
                      <a:tailEnd type="none" w="med" len="lg"/>
                    </a:ln>
                  </p:spPr>
                  <p:txBody>
                    <a:bodyPr wrap="square" lIns="0" tIns="0" rIns="0" bIns="0">
                      <a:spAutoFit/>
                    </a:bodyPr>
                    <a:lstStyle/>
                    <a:p>
                      <a:pPr defTabSz="914377">
                        <a:lnSpc>
                          <a:spcPts val="2667"/>
                        </a:lnSpc>
                        <a:defRPr/>
                      </a:pPr>
                      <a:r>
                        <a:rPr lang="pl-PL" sz="1467" noProof="1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Jarocin</a:t>
                      </a:r>
                      <a:endParaRPr lang="en-GB" sz="1467" noProof="1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54" name="Straight Connector 192">
                      <a:extLst>
                        <a:ext uri="{FF2B5EF4-FFF2-40B4-BE49-F238E27FC236}">
                          <a16:creationId xmlns:a16="http://schemas.microsoft.com/office/drawing/2014/main" id="{8605D9ED-F605-45F0-9848-75BB40A2D9D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408695" y="2809379"/>
                      <a:ext cx="2307307" cy="0"/>
                    </a:xfrm>
                    <a:prstGeom prst="line">
                      <a:avLst/>
                    </a:prstGeom>
                    <a:ln w="9525" cap="flat" cmpd="sng" algn="ctr">
                      <a:solidFill>
                        <a:schemeClr val="dk1"/>
                      </a:solidFill>
                      <a:prstDash val="dash"/>
                      <a:round/>
                      <a:headEnd type="none" w="med" len="med"/>
                      <a:tailEnd type="none" w="med" len="med"/>
                    </a:ln>
                  </p:spPr>
                  <p:style>
                    <a:lnRef idx="0">
                      <a:scrgbClr r="0" g="0" b="0"/>
                    </a:lnRef>
                    <a:fillRef idx="0">
                      <a:scrgbClr r="0" g="0" b="0"/>
                    </a:fillRef>
                    <a:effectRef idx="0">
                      <a:scrgbClr r="0" g="0" b="0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55" name="Łuk 54">
                      <a:extLst>
                        <a:ext uri="{FF2B5EF4-FFF2-40B4-BE49-F238E27FC236}">
                          <a16:creationId xmlns:a16="http://schemas.microsoft.com/office/drawing/2014/main" id="{F3362DA4-804C-40B5-A574-C84E481743DE}"/>
                        </a:ext>
                      </a:extLst>
                    </p:cNvPr>
                    <p:cNvSpPr/>
                    <p:nvPr/>
                  </p:nvSpPr>
                  <p:spPr>
                    <a:xfrm rot="15752207">
                      <a:off x="7448114" y="2974623"/>
                      <a:ext cx="2168497" cy="1835302"/>
                    </a:xfrm>
                    <a:prstGeom prst="arc">
                      <a:avLst>
                        <a:gd name="adj1" fmla="val 16393421"/>
                        <a:gd name="adj2" fmla="val 0"/>
                      </a:avLst>
                    </a:prstGeom>
                    <a:ln w="6350">
                      <a:solidFill>
                        <a:schemeClr val="tx1">
                          <a:lumMod val="85000"/>
                          <a:lumOff val="15000"/>
                        </a:schemeClr>
                      </a:solidFill>
                      <a:prstDash val="lgDash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  <p:txBody>
                    <a:bodyPr rtlCol="0" anchor="ctr"/>
                    <a:lstStyle/>
                    <a:p>
                      <a:pPr algn="ctr" defTabSz="914377">
                        <a:defRPr/>
                      </a:pPr>
                      <a:endParaRPr lang="pl-PL" sz="2400">
                        <a:solidFill>
                          <a:srgbClr val="000000"/>
                        </a:solidFill>
                        <a:latin typeface="EON Brix Sans Black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2" name="Ellipse 45">
                  <a:extLst>
                    <a:ext uri="{FF2B5EF4-FFF2-40B4-BE49-F238E27FC236}">
                      <a16:creationId xmlns:a16="http://schemas.microsoft.com/office/drawing/2014/main" id="{E984C2C8-CD8C-4F64-8EDB-2D1CC268EF51}"/>
                    </a:ext>
                  </a:extLst>
                </p:cNvPr>
                <p:cNvSpPr/>
                <p:nvPr/>
              </p:nvSpPr>
              <p:spPr bwMode="auto">
                <a:xfrm>
                  <a:off x="7087786" y="4685560"/>
                  <a:ext cx="76216" cy="76216"/>
                </a:xfrm>
                <a:prstGeom prst="ellipse">
                  <a:avLst/>
                </a:pr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914377">
                    <a:defRPr/>
                  </a:pPr>
                  <a:endParaRPr lang="en-GB" sz="1467">
                    <a:ln w="9525">
                      <a:solidFill>
                        <a:srgbClr val="000000"/>
                      </a:solidFill>
                    </a:ln>
                    <a:solidFill>
                      <a:srgbClr val="000000"/>
                    </a:solidFill>
                    <a:latin typeface="EON Brix Sans Black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" name="Ellipse 45">
                  <a:extLst>
                    <a:ext uri="{FF2B5EF4-FFF2-40B4-BE49-F238E27FC236}">
                      <a16:creationId xmlns:a16="http://schemas.microsoft.com/office/drawing/2014/main" id="{E87FC87D-B7F4-4199-80B1-425BFF569FEB}"/>
                    </a:ext>
                  </a:extLst>
                </p:cNvPr>
                <p:cNvSpPr/>
                <p:nvPr/>
              </p:nvSpPr>
              <p:spPr bwMode="auto">
                <a:xfrm>
                  <a:off x="7261057" y="4444036"/>
                  <a:ext cx="76216" cy="76216"/>
                </a:xfrm>
                <a:prstGeom prst="ellipse">
                  <a:avLst/>
                </a:pr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914377">
                    <a:defRPr/>
                  </a:pPr>
                  <a:endParaRPr lang="en-GB" sz="1467">
                    <a:ln w="9525">
                      <a:solidFill>
                        <a:srgbClr val="000000"/>
                      </a:solidFill>
                    </a:ln>
                    <a:solidFill>
                      <a:srgbClr val="000000"/>
                    </a:solidFill>
                    <a:latin typeface="EON Brix Sans Black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Ellipse 45">
                  <a:extLst>
                    <a:ext uri="{FF2B5EF4-FFF2-40B4-BE49-F238E27FC236}">
                      <a16:creationId xmlns:a16="http://schemas.microsoft.com/office/drawing/2014/main" id="{EC2B2058-E9AD-420C-9DAA-B1316492754F}"/>
                    </a:ext>
                  </a:extLst>
                </p:cNvPr>
                <p:cNvSpPr/>
                <p:nvPr/>
              </p:nvSpPr>
              <p:spPr bwMode="auto">
                <a:xfrm>
                  <a:off x="7120644" y="4728546"/>
                  <a:ext cx="76216" cy="76216"/>
                </a:xfrm>
                <a:prstGeom prst="ellipse">
                  <a:avLst/>
                </a:pr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914377">
                    <a:defRPr/>
                  </a:pPr>
                  <a:endParaRPr lang="en-GB" sz="1467">
                    <a:ln w="9525">
                      <a:solidFill>
                        <a:srgbClr val="000000"/>
                      </a:solidFill>
                    </a:ln>
                    <a:solidFill>
                      <a:srgbClr val="000000"/>
                    </a:solidFill>
                    <a:latin typeface="EON Brix Sans Black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Ellipse 45">
                  <a:extLst>
                    <a:ext uri="{FF2B5EF4-FFF2-40B4-BE49-F238E27FC236}">
                      <a16:creationId xmlns:a16="http://schemas.microsoft.com/office/drawing/2014/main" id="{8A171FC0-8DE5-4C29-B6A2-1725467412F6}"/>
                    </a:ext>
                  </a:extLst>
                </p:cNvPr>
                <p:cNvSpPr/>
                <p:nvPr/>
              </p:nvSpPr>
              <p:spPr bwMode="auto">
                <a:xfrm>
                  <a:off x="7303711" y="5011514"/>
                  <a:ext cx="76216" cy="76216"/>
                </a:xfrm>
                <a:prstGeom prst="ellipse">
                  <a:avLst/>
                </a:pr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914377">
                    <a:defRPr/>
                  </a:pPr>
                  <a:endParaRPr lang="en-GB" sz="1467">
                    <a:ln w="9525">
                      <a:solidFill>
                        <a:srgbClr val="000000"/>
                      </a:solidFill>
                    </a:ln>
                    <a:solidFill>
                      <a:srgbClr val="000000"/>
                    </a:solidFill>
                    <a:latin typeface="EON Brix Sans Black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Ellipse 45">
                  <a:extLst>
                    <a:ext uri="{FF2B5EF4-FFF2-40B4-BE49-F238E27FC236}">
                      <a16:creationId xmlns:a16="http://schemas.microsoft.com/office/drawing/2014/main" id="{F31D053B-A02A-4AF3-9F72-06D8F7F92457}"/>
                    </a:ext>
                  </a:extLst>
                </p:cNvPr>
                <p:cNvSpPr/>
                <p:nvPr/>
              </p:nvSpPr>
              <p:spPr bwMode="auto">
                <a:xfrm>
                  <a:off x="7286182" y="4940394"/>
                  <a:ext cx="76216" cy="76216"/>
                </a:xfrm>
                <a:prstGeom prst="ellipse">
                  <a:avLst/>
                </a:prstGeom>
                <a:solidFill>
                  <a:schemeClr val="tx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defTabSz="914377">
                    <a:defRPr/>
                  </a:pPr>
                  <a:endParaRPr lang="en-GB" sz="1467">
                    <a:ln w="9525">
                      <a:solidFill>
                        <a:srgbClr val="000000"/>
                      </a:solidFill>
                    </a:ln>
                    <a:solidFill>
                      <a:srgbClr val="000000"/>
                    </a:solidFill>
                    <a:latin typeface="EON Brix Sans Black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8" name="Prostokąt 73">
                <a:extLst>
                  <a:ext uri="{FF2B5EF4-FFF2-40B4-BE49-F238E27FC236}">
                    <a16:creationId xmlns:a16="http://schemas.microsoft.com/office/drawing/2014/main" id="{590A91EF-F1F3-48FA-B849-C5328FA27475}"/>
                  </a:ext>
                </a:extLst>
              </p:cNvPr>
              <p:cNvSpPr/>
              <p:nvPr/>
            </p:nvSpPr>
            <p:spPr>
              <a:xfrm>
                <a:off x="10883422" y="4656089"/>
                <a:ext cx="1062333" cy="7022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Sokółka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Grójec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Drzewica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Starachowice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</p:txBody>
          </p:sp>
          <p:sp>
            <p:nvSpPr>
              <p:cNvPr id="9" name="Prostokąt 66">
                <a:extLst>
                  <a:ext uri="{FF2B5EF4-FFF2-40B4-BE49-F238E27FC236}">
                    <a16:creationId xmlns:a16="http://schemas.microsoft.com/office/drawing/2014/main" id="{858DDB42-05EC-43D0-8E10-98F9B0185B28}"/>
                  </a:ext>
                </a:extLst>
              </p:cNvPr>
              <p:cNvSpPr/>
              <p:nvPr/>
            </p:nvSpPr>
            <p:spPr>
              <a:xfrm>
                <a:off x="4498688" y="2407017"/>
                <a:ext cx="1535499" cy="148971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Barlinek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Dębno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Łobez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Myślibórz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Połczyn</a:t>
                </a:r>
                <a:r>
                  <a:rPr lang="pl-PL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-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Zdrój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Słubice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Strzelce</a:t>
                </a: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Krajeńskie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Choszczno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Chojnice</a:t>
                </a:r>
                <a:endParaRPr lang="pl-PL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pl-PL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Zgorzelec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</p:txBody>
          </p:sp>
          <p:sp>
            <p:nvSpPr>
              <p:cNvPr id="10" name="Prostokąt 67">
                <a:extLst>
                  <a:ext uri="{FF2B5EF4-FFF2-40B4-BE49-F238E27FC236}">
                    <a16:creationId xmlns:a16="http://schemas.microsoft.com/office/drawing/2014/main" id="{73AE9EDB-1941-4768-9E57-D018727BBA9C}"/>
                  </a:ext>
                </a:extLst>
              </p:cNvPr>
              <p:cNvSpPr/>
              <p:nvPr/>
            </p:nvSpPr>
            <p:spPr>
              <a:xfrm>
                <a:off x="4736817" y="4970756"/>
                <a:ext cx="1535497" cy="1228919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Malbork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Kutno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Jelenia Góra</a:t>
                </a: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Tarnobrzeg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Kogeneracja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Logistyka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Serwis</a:t>
                </a:r>
                <a:endParaRPr lang="en-GB" sz="1000">
                  <a:solidFill>
                    <a:srgbClr val="FFFFFF">
                      <a:lumMod val="50000"/>
                    </a:srgbClr>
                  </a:solidFill>
                  <a:latin typeface="EON Brix Sans"/>
                  <a:cs typeface="Arial" panose="020B0604020202020204" pitchFamily="34" charset="0"/>
                </a:endParaRPr>
              </a:p>
              <a:p>
                <a:pPr algn="r" defTabSz="914377">
                  <a:defRPr/>
                </a:pP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ECO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Ciepło</a:t>
                </a: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 </a:t>
                </a:r>
                <a:r>
                  <a:rPr lang="en-GB" sz="1000" err="1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Lokalne</a:t>
                </a:r>
                <a:r>
                  <a:rPr lang="en-GB" sz="1000">
                    <a:solidFill>
                      <a:srgbClr val="FFFFFF">
                        <a:lumMod val="50000"/>
                      </a:srgbClr>
                    </a:solidFill>
                    <a:latin typeface="EON Brix Sans"/>
                    <a:cs typeface="Arial" panose="020B0604020202020204" pitchFamily="34" charset="0"/>
                  </a:rPr>
                  <a:t> 1</a:t>
                </a:r>
              </a:p>
            </p:txBody>
          </p:sp>
        </p:grpSp>
        <p:sp>
          <p:nvSpPr>
            <p:cNvPr id="6" name="Ellipse 45">
              <a:extLst>
                <a:ext uri="{FF2B5EF4-FFF2-40B4-BE49-F238E27FC236}">
                  <a16:creationId xmlns:a16="http://schemas.microsoft.com/office/drawing/2014/main" id="{1EF191BB-67C2-420E-B51A-2D99DC7C2F0A}"/>
                </a:ext>
              </a:extLst>
            </p:cNvPr>
            <p:cNvSpPr/>
            <p:nvPr/>
          </p:nvSpPr>
          <p:spPr bwMode="auto">
            <a:xfrm>
              <a:off x="6468071" y="4161088"/>
              <a:ext cx="76216" cy="76216"/>
            </a:xfrm>
            <a:prstGeom prst="ellipse">
              <a:avLst/>
            </a:prstGeom>
            <a:solidFill>
              <a:schemeClr val="tx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defTabSz="914377">
                <a:defRPr/>
              </a:pPr>
              <a:endParaRPr lang="en-GB" sz="1467">
                <a:ln w="9525">
                  <a:solidFill>
                    <a:srgbClr val="000000"/>
                  </a:solidFill>
                </a:ln>
                <a:solidFill>
                  <a:srgbClr val="000000"/>
                </a:solidFill>
                <a:latin typeface="EON Brix Sans Black"/>
                <a:cs typeface="Arial" panose="020B0604020202020204" pitchFamily="34" charset="0"/>
              </a:endParaRPr>
            </a:p>
          </p:txBody>
        </p:sp>
      </p:grpSp>
      <p:sp>
        <p:nvSpPr>
          <p:cNvPr id="57" name="Rechteck 11">
            <a:extLst>
              <a:ext uri="{FF2B5EF4-FFF2-40B4-BE49-F238E27FC236}">
                <a16:creationId xmlns:a16="http://schemas.microsoft.com/office/drawing/2014/main" id="{26627EE1-86D9-468D-9153-A643568595D7}"/>
              </a:ext>
            </a:extLst>
          </p:cNvPr>
          <p:cNvSpPr/>
          <p:nvPr/>
        </p:nvSpPr>
        <p:spPr>
          <a:xfrm>
            <a:off x="7478543" y="-39214"/>
            <a:ext cx="127259" cy="689721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en-GB" sz="2400">
              <a:solidFill>
                <a:srgbClr val="FFFFFF"/>
              </a:solidFill>
              <a:latin typeface="EON Brix Sans Black"/>
              <a:cs typeface="Arial" panose="020B0604020202020204" pitchFamily="34" charset="0"/>
            </a:endParaRPr>
          </a:p>
        </p:txBody>
      </p:sp>
      <p:pic>
        <p:nvPicPr>
          <p:cNvPr id="63" name="Picture 12" descr="Brak dostępnego opisu zdjęcia.">
            <a:extLst>
              <a:ext uri="{FF2B5EF4-FFF2-40B4-BE49-F238E27FC236}">
                <a16:creationId xmlns:a16="http://schemas.microsoft.com/office/drawing/2014/main" id="{87BD01CC-9CA9-4916-AB43-AE961B1C43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90" t="18879" r="6749" b="21860"/>
          <a:stretch/>
        </p:blipFill>
        <p:spPr bwMode="auto">
          <a:xfrm>
            <a:off x="3226919" y="5308415"/>
            <a:ext cx="593927" cy="435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Prostokąt 63">
            <a:extLst>
              <a:ext uri="{FF2B5EF4-FFF2-40B4-BE49-F238E27FC236}">
                <a16:creationId xmlns:a16="http://schemas.microsoft.com/office/drawing/2014/main" id="{9F285AEC-8CC3-4EA9-9E05-C5D812DC7677}"/>
              </a:ext>
            </a:extLst>
          </p:cNvPr>
          <p:cNvSpPr/>
          <p:nvPr/>
        </p:nvSpPr>
        <p:spPr>
          <a:xfrm>
            <a:off x="2392229" y="5767291"/>
            <a:ext cx="1535497" cy="378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914377">
              <a:defRPr/>
            </a:pPr>
            <a:r>
              <a:rPr lang="pl-PL" sz="1000">
                <a:solidFill>
                  <a:srgbClr val="FFFFFF">
                    <a:lumMod val="50000"/>
                  </a:srgbClr>
                </a:solidFill>
                <a:latin typeface="EON Brix Sans"/>
                <a:cs typeface="Arial" panose="020B0604020202020204" pitchFamily="34" charset="0"/>
              </a:rPr>
              <a:t>Świebodzice</a:t>
            </a:r>
            <a:br>
              <a:rPr lang="pl-PL" sz="1000">
                <a:solidFill>
                  <a:srgbClr val="FFFFFF">
                    <a:lumMod val="50000"/>
                  </a:srgbClr>
                </a:solidFill>
                <a:latin typeface="EON Brix Sans"/>
                <a:cs typeface="Arial" panose="020B0604020202020204" pitchFamily="34" charset="0"/>
              </a:rPr>
            </a:br>
            <a:endParaRPr lang="en-GB" sz="1000">
              <a:solidFill>
                <a:srgbClr val="FFFFFF">
                  <a:lumMod val="50000"/>
                </a:srgbClr>
              </a:solidFill>
              <a:latin typeface="EON Brix Sans"/>
              <a:cs typeface="Arial" panose="020B0604020202020204" pitchFamily="34" charset="0"/>
            </a:endParaRPr>
          </a:p>
        </p:txBody>
      </p:sp>
      <p:sp>
        <p:nvSpPr>
          <p:cNvPr id="65" name="Łuk 64">
            <a:extLst>
              <a:ext uri="{FF2B5EF4-FFF2-40B4-BE49-F238E27FC236}">
                <a16:creationId xmlns:a16="http://schemas.microsoft.com/office/drawing/2014/main" id="{ECADBB1B-2123-40D7-A5CF-B96B5F197CB6}"/>
              </a:ext>
            </a:extLst>
          </p:cNvPr>
          <p:cNvSpPr/>
          <p:nvPr/>
        </p:nvSpPr>
        <p:spPr>
          <a:xfrm rot="10800000">
            <a:off x="2660292" y="3335598"/>
            <a:ext cx="1321965" cy="2459719"/>
          </a:xfrm>
          <a:prstGeom prst="arc">
            <a:avLst>
              <a:gd name="adj1" fmla="val 16393421"/>
              <a:gd name="adj2" fmla="val 0"/>
            </a:avLst>
          </a:prstGeom>
          <a:ln w="6350">
            <a:solidFill>
              <a:schemeClr val="tx1">
                <a:lumMod val="85000"/>
                <a:lumOff val="1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pl-PL" sz="2400">
              <a:solidFill>
                <a:srgbClr val="000000"/>
              </a:solidFill>
              <a:latin typeface="EON Brix Sans Black"/>
              <a:cs typeface="Arial" panose="020B0604020202020204" pitchFamily="34" charset="0"/>
            </a:endParaRPr>
          </a:p>
        </p:txBody>
      </p:sp>
      <p:cxnSp>
        <p:nvCxnSpPr>
          <p:cNvPr id="66" name="Straight Connector 193">
            <a:extLst>
              <a:ext uri="{FF2B5EF4-FFF2-40B4-BE49-F238E27FC236}">
                <a16:creationId xmlns:a16="http://schemas.microsoft.com/office/drawing/2014/main" id="{ED1F6EFB-2C9B-4C4C-91F3-A722B560C079}"/>
              </a:ext>
            </a:extLst>
          </p:cNvPr>
          <p:cNvCxnSpPr>
            <a:cxnSpLocks/>
          </p:cNvCxnSpPr>
          <p:nvPr/>
        </p:nvCxnSpPr>
        <p:spPr>
          <a:xfrm>
            <a:off x="3300518" y="5785040"/>
            <a:ext cx="537009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7" name="Text Box 41">
            <a:extLst>
              <a:ext uri="{FF2B5EF4-FFF2-40B4-BE49-F238E27FC236}">
                <a16:creationId xmlns:a16="http://schemas.microsoft.com/office/drawing/2014/main" id="{3F61DF6B-0B3C-4372-AEAA-C7E4E67A7EB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697905" y="4360816"/>
            <a:ext cx="944233" cy="309380"/>
          </a:xfrm>
          <a:prstGeom prst="rect">
            <a:avLst/>
          </a:prstGeom>
          <a:noFill/>
          <a:ln w="12700">
            <a:noFill/>
            <a:miter lim="800000"/>
            <a:headEnd/>
            <a:tailEnd type="none" w="med" len="lg"/>
          </a:ln>
        </p:spPr>
        <p:txBody>
          <a:bodyPr wrap="none" lIns="0" tIns="0" rIns="0" bIns="0">
            <a:spAutoFit/>
          </a:bodyPr>
          <a:lstStyle/>
          <a:p>
            <a:pPr defTabSz="914377">
              <a:lnSpc>
                <a:spcPts val="2667"/>
              </a:lnSpc>
              <a:defRPr/>
            </a:pPr>
            <a:r>
              <a:rPr lang="pl-PL" sz="1467" noProof="1">
                <a:solidFill>
                  <a:srgbClr val="000000"/>
                </a:solidFill>
                <a:cs typeface="Arial" panose="020B0604020202020204" pitchFamily="34" charset="0"/>
              </a:rPr>
              <a:t>Świebodzice</a:t>
            </a:r>
            <a:endParaRPr lang="en-GB" sz="1467" noProof="1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78" name="pole tekstowe 77">
            <a:extLst>
              <a:ext uri="{FF2B5EF4-FFF2-40B4-BE49-F238E27FC236}">
                <a16:creationId xmlns:a16="http://schemas.microsoft.com/office/drawing/2014/main" id="{CB7EFA45-B109-869A-E9F5-59DDA52FB00F}"/>
              </a:ext>
            </a:extLst>
          </p:cNvPr>
          <p:cNvSpPr txBox="1"/>
          <p:nvPr/>
        </p:nvSpPr>
        <p:spPr>
          <a:xfrm>
            <a:off x="238129" y="6581150"/>
            <a:ext cx="6100355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>
              <a:defRPr/>
            </a:pPr>
            <a:r>
              <a:rPr lang="pl-PL" sz="900">
                <a:cs typeface="Arial" panose="020B0604020202020204" pitchFamily="34" charset="0"/>
              </a:rPr>
              <a:t>* </a:t>
            </a:r>
            <a:r>
              <a:rPr lang="en-US" sz="900">
                <a:ea typeface="Calibri" panose="020F0502020204030204" pitchFamily="34" charset="0"/>
              </a:rPr>
              <a:t>In General Numbers, we do not include data from ECO (minority shareholding - 46,7%)</a:t>
            </a:r>
            <a:endParaRPr lang="en-GB" sz="900">
              <a:cs typeface="Arial" panose="020B0604020202020204" pitchFamily="34" charset="0"/>
            </a:endParaRP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3BDEE5DA-9382-FD07-4801-2A866BEC58ED}"/>
              </a:ext>
            </a:extLst>
          </p:cNvPr>
          <p:cNvSpPr txBox="1"/>
          <p:nvPr/>
        </p:nvSpPr>
        <p:spPr>
          <a:xfrm>
            <a:off x="575413" y="4541950"/>
            <a:ext cx="61003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pl-PL" sz="1400">
                <a:cs typeface="Arial" panose="020B0604020202020204" pitchFamily="34" charset="0"/>
              </a:rPr>
              <a:t>*</a:t>
            </a:r>
            <a:endParaRPr lang="en-GB" sz="1400">
              <a:cs typeface="Arial" panose="020B0604020202020204" pitchFamily="34" charset="0"/>
            </a:endParaRPr>
          </a:p>
        </p:txBody>
      </p:sp>
      <p:sp>
        <p:nvSpPr>
          <p:cNvPr id="56" name="Titel 55">
            <a:extLst>
              <a:ext uri="{FF2B5EF4-FFF2-40B4-BE49-F238E27FC236}">
                <a16:creationId xmlns:a16="http://schemas.microsoft.com/office/drawing/2014/main" id="{26ED70EF-C234-74B0-994B-0825D14F5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3" y="346340"/>
            <a:ext cx="6381347" cy="856816"/>
          </a:xfrm>
        </p:spPr>
        <p:txBody>
          <a:bodyPr vert="horz"/>
          <a:lstStyle/>
          <a:p>
            <a:r>
              <a:rPr lang="en-US" dirty="0"/>
              <a:t>E.ON Infrastructure Solutions with a nation-wide footprint in Poland</a:t>
            </a:r>
            <a:endParaRPr lang="en-GB" dirty="0"/>
          </a:p>
        </p:txBody>
      </p:sp>
      <p:sp>
        <p:nvSpPr>
          <p:cNvPr id="58" name="Foliennummernplatzhalter 57">
            <a:extLst>
              <a:ext uri="{FF2B5EF4-FFF2-40B4-BE49-F238E27FC236}">
                <a16:creationId xmlns:a16="http://schemas.microsoft.com/office/drawing/2014/main" id="{DF0557E6-4B3A-79F5-F7EC-F5B70F45CB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2" name="Obraz 30" descr="Obraz zawierający na wolnym powietrzu, Fotografia lotnicza, Widok z lotu ptaka, lotnicze&amp;#xA;&amp;#xA;Opis wygenerowany automatycznie">
            <a:extLst>
              <a:ext uri="{FF2B5EF4-FFF2-40B4-BE49-F238E27FC236}">
                <a16:creationId xmlns:a16="http://schemas.microsoft.com/office/drawing/2014/main" id="{2E660998-03BC-5BAD-A3A3-B58A9374F48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05802" y="4071714"/>
            <a:ext cx="4555907" cy="2803336"/>
          </a:xfrm>
          <a:prstGeom prst="rect">
            <a:avLst/>
          </a:prstGeom>
        </p:spPr>
      </p:pic>
      <p:graphicFrame>
        <p:nvGraphicFramePr>
          <p:cNvPr id="59" name="Tabela 1">
            <a:extLst>
              <a:ext uri="{FF2B5EF4-FFF2-40B4-BE49-F238E27FC236}">
                <a16:creationId xmlns:a16="http://schemas.microsoft.com/office/drawing/2014/main" id="{BAD83F22-0E27-0CA4-9333-85D09C6377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427827"/>
              </p:ext>
            </p:extLst>
          </p:nvPr>
        </p:nvGraphicFramePr>
        <p:xfrm>
          <a:off x="7981625" y="481345"/>
          <a:ext cx="3626757" cy="236426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07440">
                  <a:extLst>
                    <a:ext uri="{9D8B030D-6E8A-4147-A177-3AD203B41FA5}">
                      <a16:colId xmlns:a16="http://schemas.microsoft.com/office/drawing/2014/main" val="3979799372"/>
                    </a:ext>
                  </a:extLst>
                </a:gridCol>
                <a:gridCol w="2119317">
                  <a:extLst>
                    <a:ext uri="{9D8B030D-6E8A-4147-A177-3AD203B41FA5}">
                      <a16:colId xmlns:a16="http://schemas.microsoft.com/office/drawing/2014/main" val="2929715568"/>
                    </a:ext>
                  </a:extLst>
                </a:gridCol>
              </a:tblGrid>
              <a:tr h="301760"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GB" sz="16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General numbers*</a:t>
                      </a:r>
                    </a:p>
                    <a:p>
                      <a:pPr algn="l" rtl="0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68240530"/>
                  </a:ext>
                </a:extLst>
              </a:tr>
              <a:tr h="333742"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EON Brix Sans" panose="020B0504040000000000" pitchFamily="34" charset="-18"/>
                        </a:rPr>
                        <a:t>Employees</a:t>
                      </a:r>
                    </a:p>
                  </a:txBody>
                  <a:tcPr marL="5715" marR="5715" marT="5715" marB="0" anchor="b"/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~ 750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extLst>
                  <a:ext uri="{0D108BD9-81ED-4DB2-BD59-A6C34878D82A}">
                    <a16:rowId xmlns:a16="http://schemas.microsoft.com/office/drawing/2014/main" val="3367784546"/>
                  </a:ext>
                </a:extLst>
              </a:tr>
              <a:tr h="424173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Grids in 29 cities 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~ 570 km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extLst>
                  <a:ext uri="{0D108BD9-81ED-4DB2-BD59-A6C34878D82A}">
                    <a16:rowId xmlns:a16="http://schemas.microsoft.com/office/drawing/2014/main" val="2534578496"/>
                  </a:ext>
                </a:extLst>
              </a:tr>
              <a:tr h="333742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Heat, cold – sales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.6 TWh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extLst>
                  <a:ext uri="{0D108BD9-81ED-4DB2-BD59-A6C34878D82A}">
                    <a16:rowId xmlns:a16="http://schemas.microsoft.com/office/drawing/2014/main" val="536663164"/>
                  </a:ext>
                </a:extLst>
              </a:tr>
              <a:tr h="333742">
                <a:tc>
                  <a:txBody>
                    <a:bodyPr/>
                    <a:lstStyle/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  <a:p>
                      <a:pPr marL="0" marR="0" lvl="0" indent="0" algn="l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wer sales 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EON Brix Sans" panose="020B0504040000000000" pitchFamily="34" charset="-18"/>
                      </a:endParaRPr>
                    </a:p>
                  </a:txBody>
                  <a:tcPr marL="5715" marR="5715" marT="5715" marB="0" anchor="b"/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EON Brix Sans" panose="020B0504040000000000" pitchFamily="34" charset="-18"/>
                        </a:rPr>
                        <a:t>30 GWh </a:t>
                      </a:r>
                    </a:p>
                  </a:txBody>
                  <a:tcPr marL="5715" marR="5715" marT="5715" marB="0" anchor="b"/>
                </a:tc>
                <a:extLst>
                  <a:ext uri="{0D108BD9-81ED-4DB2-BD59-A6C34878D82A}">
                    <a16:rowId xmlns:a16="http://schemas.microsoft.com/office/drawing/2014/main" val="1453574262"/>
                  </a:ext>
                </a:extLst>
              </a:tr>
              <a:tr h="346774">
                <a:tc>
                  <a:txBody>
                    <a:bodyPr/>
                    <a:lstStyle/>
                    <a:p>
                      <a:pPr algn="l" rtl="0" fontAlgn="b"/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EON Brix Sans" panose="020B0504040000000000" pitchFamily="34" charset="-18"/>
                        </a:rPr>
                        <a:t>Generation ( today)  </a:t>
                      </a:r>
                    </a:p>
                  </a:txBody>
                  <a:tcPr marL="5715" marR="5715" marT="5715" marB="0" anchor="b"/>
                </a:tc>
                <a:tc>
                  <a:txBody>
                    <a:bodyPr/>
                    <a:lstStyle/>
                    <a:p>
                      <a:pPr marL="0" marR="0" lvl="0" indent="0" algn="r" defTabSz="12191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~</a:t>
                      </a: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EON Brix Sans" panose="020B0504040000000000" pitchFamily="34" charset="-18"/>
                        </a:rPr>
                        <a:t>70 % coal </a:t>
                      </a:r>
                    </a:p>
                  </a:txBody>
                  <a:tcPr marL="5715" marR="5715" marT="5715" marB="0" anchor="b"/>
                </a:tc>
                <a:extLst>
                  <a:ext uri="{0D108BD9-81ED-4DB2-BD59-A6C34878D82A}">
                    <a16:rowId xmlns:a16="http://schemas.microsoft.com/office/drawing/2014/main" val="1990071474"/>
                  </a:ext>
                </a:extLst>
              </a:tr>
            </a:tbl>
          </a:graphicData>
        </a:graphic>
      </p:graphicFrame>
      <p:sp>
        <p:nvSpPr>
          <p:cNvPr id="60" name="Textfeld 59">
            <a:extLst>
              <a:ext uri="{FF2B5EF4-FFF2-40B4-BE49-F238E27FC236}">
                <a16:creationId xmlns:a16="http://schemas.microsoft.com/office/drawing/2014/main" id="{65891644-9347-D92D-98D1-76861C85883D}"/>
              </a:ext>
            </a:extLst>
          </p:cNvPr>
          <p:cNvSpPr txBox="1"/>
          <p:nvPr/>
        </p:nvSpPr>
        <p:spPr>
          <a:xfrm>
            <a:off x="7892252" y="3509784"/>
            <a:ext cx="2291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/>
              <a:t>*) ECO not </a:t>
            </a:r>
            <a:r>
              <a:rPr lang="de-DE" sz="900" dirty="0" err="1"/>
              <a:t>included</a:t>
            </a:r>
            <a:r>
              <a:rPr lang="de-DE" sz="900" dirty="0"/>
              <a:t> </a:t>
            </a:r>
            <a:r>
              <a:rPr lang="de-DE" sz="900" dirty="0" err="1"/>
              <a:t>as</a:t>
            </a:r>
            <a:r>
              <a:rPr lang="de-DE" sz="900" dirty="0"/>
              <a:t> 46% </a:t>
            </a:r>
            <a:r>
              <a:rPr lang="de-DE" sz="900" dirty="0" err="1"/>
              <a:t>minority</a:t>
            </a:r>
            <a:r>
              <a:rPr lang="de-DE" sz="900" dirty="0"/>
              <a:t> </a:t>
            </a:r>
            <a:r>
              <a:rPr lang="de-DE" sz="900" dirty="0" err="1"/>
              <a:t>position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28796037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1BEF9386-BD1F-2BBB-FCB0-7DED7047C7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4" imgW="498" imgH="499" progId="TCLayout.ActiveDocument.1">
                  <p:embed/>
                </p:oleObj>
              </mc:Choice>
              <mc:Fallback>
                <p:oleObj name="think-cell Folie" r:id="rId4" imgW="498" imgH="499" progId="TCLayout.ActiveDocument.1">
                  <p:embed/>
                  <p:pic>
                    <p:nvPicPr>
                      <p:cNvPr id="25" name="Objekt 24" hidden="1">
                        <a:extLst>
                          <a:ext uri="{FF2B5EF4-FFF2-40B4-BE49-F238E27FC236}">
                            <a16:creationId xmlns:a16="http://schemas.microsoft.com/office/drawing/2014/main" id="{1BEF9386-BD1F-2BBB-FCB0-7DED7047C7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9" name="Rechteck 188">
            <a:extLst>
              <a:ext uri="{FF2B5EF4-FFF2-40B4-BE49-F238E27FC236}">
                <a16:creationId xmlns:a16="http://schemas.microsoft.com/office/drawing/2014/main" id="{554E52D8-81A0-A821-D247-E7346EFD92FA}"/>
              </a:ext>
            </a:extLst>
          </p:cNvPr>
          <p:cNvSpPr/>
          <p:nvPr/>
        </p:nvSpPr>
        <p:spPr>
          <a:xfrm>
            <a:off x="0" y="1503505"/>
            <a:ext cx="12192000" cy="5204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err="1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7B1756AC-3A05-1362-63A3-CBAD34F7FEA7}"/>
              </a:ext>
            </a:extLst>
          </p:cNvPr>
          <p:cNvSpPr/>
          <p:nvPr/>
        </p:nvSpPr>
        <p:spPr>
          <a:xfrm>
            <a:off x="4566652" y="91368"/>
            <a:ext cx="7625347" cy="14121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err="1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52BBEC6-F6C5-DCAA-A65E-3008A9FBB66F}"/>
              </a:ext>
            </a:extLst>
          </p:cNvPr>
          <p:cNvSpPr/>
          <p:nvPr/>
        </p:nvSpPr>
        <p:spPr>
          <a:xfrm>
            <a:off x="-1" y="97781"/>
            <a:ext cx="4566653" cy="141213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err="1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BE21D52-9048-03D0-3D89-FA7921E460E7}"/>
              </a:ext>
            </a:extLst>
          </p:cNvPr>
          <p:cNvSpPr txBox="1"/>
          <p:nvPr/>
        </p:nvSpPr>
        <p:spPr>
          <a:xfrm>
            <a:off x="594415" y="505897"/>
            <a:ext cx="1710405" cy="5744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DE" sz="3733" b="1">
                <a:solidFill>
                  <a:schemeClr val="bg1"/>
                </a:solidFill>
              </a:rPr>
              <a:t>Coal Exit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D2ADD4B-7D82-2735-32D3-A3E9C110EE49}"/>
              </a:ext>
            </a:extLst>
          </p:cNvPr>
          <p:cNvGrpSpPr/>
          <p:nvPr/>
        </p:nvGrpSpPr>
        <p:grpSpPr>
          <a:xfrm>
            <a:off x="4645972" y="135612"/>
            <a:ext cx="411705" cy="411705"/>
            <a:chOff x="580456" y="2407898"/>
            <a:chExt cx="690674" cy="690674"/>
          </a:xfrm>
        </p:grpSpPr>
        <p:sp>
          <p:nvSpPr>
            <p:cNvPr id="21" name="Ellipse 20">
              <a:extLst>
                <a:ext uri="{FF2B5EF4-FFF2-40B4-BE49-F238E27FC236}">
                  <a16:creationId xmlns:a16="http://schemas.microsoft.com/office/drawing/2014/main" id="{ECA386CA-EED5-60E0-4CBF-43594D880231}"/>
                </a:ext>
              </a:extLst>
            </p:cNvPr>
            <p:cNvSpPr/>
            <p:nvPr/>
          </p:nvSpPr>
          <p:spPr>
            <a:xfrm>
              <a:off x="580456" y="2407898"/>
              <a:ext cx="690674" cy="6906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err="1"/>
            </a:p>
          </p:txBody>
        </p:sp>
        <p:pic>
          <p:nvPicPr>
            <p:cNvPr id="22" name="Grafik 21" descr="Kennzeichen mit einfarbiger Füllung">
              <a:extLst>
                <a:ext uri="{FF2B5EF4-FFF2-40B4-BE49-F238E27FC236}">
                  <a16:creationId xmlns:a16="http://schemas.microsoft.com/office/drawing/2014/main" id="{E1506E47-C292-231B-CEF1-EB079E3C175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1494" y="2582956"/>
              <a:ext cx="340559" cy="340559"/>
            </a:xfrm>
            <a:prstGeom prst="rect">
              <a:avLst/>
            </a:prstGeom>
          </p:spPr>
        </p:pic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446F09DA-4555-98FC-1FAF-8F889CE0FBD2}"/>
              </a:ext>
            </a:extLst>
          </p:cNvPr>
          <p:cNvSpPr txBox="1"/>
          <p:nvPr/>
        </p:nvSpPr>
        <p:spPr>
          <a:xfrm>
            <a:off x="5285972" y="177317"/>
            <a:ext cx="4658776" cy="328231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r>
              <a:rPr lang="en-GB" sz="2133"/>
              <a:t>Replace all coal-based generation by 203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1F1CBCE-D850-A3DD-D0C4-AE8F79BE9633}"/>
              </a:ext>
            </a:extLst>
          </p:cNvPr>
          <p:cNvSpPr txBox="1"/>
          <p:nvPr/>
        </p:nvSpPr>
        <p:spPr>
          <a:xfrm>
            <a:off x="5285973" y="632002"/>
            <a:ext cx="5186933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133"/>
              <a:t>No stranded fossil energy-based assets in 2035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A2C5739D-F9CC-1F1A-27FF-386172F1A72A}"/>
              </a:ext>
            </a:extLst>
          </p:cNvPr>
          <p:cNvSpPr txBox="1"/>
          <p:nvPr/>
        </p:nvSpPr>
        <p:spPr>
          <a:xfrm>
            <a:off x="5285972" y="1090520"/>
            <a:ext cx="5051832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133"/>
              <a:t>Fulfil Polish and EU environmental regulation 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46FB485-70FC-0B9F-3C53-4ED8985DDEA2}"/>
              </a:ext>
            </a:extLst>
          </p:cNvPr>
          <p:cNvGrpSpPr/>
          <p:nvPr/>
        </p:nvGrpSpPr>
        <p:grpSpPr>
          <a:xfrm>
            <a:off x="4645972" y="590297"/>
            <a:ext cx="411705" cy="411705"/>
            <a:chOff x="580456" y="3283017"/>
            <a:chExt cx="690674" cy="690674"/>
          </a:xfrm>
        </p:grpSpPr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30021094-E792-5187-C8D7-01002D7D6ECD}"/>
                </a:ext>
              </a:extLst>
            </p:cNvPr>
            <p:cNvSpPr/>
            <p:nvPr/>
          </p:nvSpPr>
          <p:spPr>
            <a:xfrm>
              <a:off x="580456" y="3283017"/>
              <a:ext cx="690674" cy="6906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err="1"/>
            </a:p>
          </p:txBody>
        </p:sp>
        <p:pic>
          <p:nvPicPr>
            <p:cNvPr id="19" name="Grafik 18" descr="Kennzeichen mit einfarbiger Füllung">
              <a:extLst>
                <a:ext uri="{FF2B5EF4-FFF2-40B4-BE49-F238E27FC236}">
                  <a16:creationId xmlns:a16="http://schemas.microsoft.com/office/drawing/2014/main" id="{48E801BB-234D-EFAA-69D5-9AC0E8487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62226" y="3459733"/>
              <a:ext cx="340559" cy="340559"/>
            </a:xfrm>
            <a:prstGeom prst="rect">
              <a:avLst/>
            </a:prstGeom>
          </p:spPr>
        </p:pic>
        <p:pic>
          <p:nvPicPr>
            <p:cNvPr id="20" name="Grafik 19" descr="Kennzeichen mit einfarbiger Füllung">
              <a:extLst>
                <a:ext uri="{FF2B5EF4-FFF2-40B4-BE49-F238E27FC236}">
                  <a16:creationId xmlns:a16="http://schemas.microsoft.com/office/drawing/2014/main" id="{FF344DEC-2A03-3FA3-CC31-A0952DEB3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894138" y="3459733"/>
              <a:ext cx="340559" cy="340559"/>
            </a:xfrm>
            <a:prstGeom prst="rect">
              <a:avLst/>
            </a:prstGeom>
          </p:spPr>
        </p:pic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C959210C-8148-16C0-DFAD-5764EB31266E}"/>
              </a:ext>
            </a:extLst>
          </p:cNvPr>
          <p:cNvGrpSpPr/>
          <p:nvPr/>
        </p:nvGrpSpPr>
        <p:grpSpPr>
          <a:xfrm>
            <a:off x="4645972" y="1048814"/>
            <a:ext cx="411705" cy="411705"/>
            <a:chOff x="580456" y="4184846"/>
            <a:chExt cx="690674" cy="690674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D2BC9E9A-8502-914C-0CB2-C2ED09868FBE}"/>
                </a:ext>
              </a:extLst>
            </p:cNvPr>
            <p:cNvSpPr/>
            <p:nvPr/>
          </p:nvSpPr>
          <p:spPr>
            <a:xfrm>
              <a:off x="580456" y="4184846"/>
              <a:ext cx="690674" cy="69067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67" err="1"/>
            </a:p>
          </p:txBody>
        </p:sp>
        <p:pic>
          <p:nvPicPr>
            <p:cNvPr id="15" name="Grafik 14" descr="Kennzeichen mit einfarbiger Füllung">
              <a:extLst>
                <a:ext uri="{FF2B5EF4-FFF2-40B4-BE49-F238E27FC236}">
                  <a16:creationId xmlns:a16="http://schemas.microsoft.com/office/drawing/2014/main" id="{C5F25334-B4C3-0C64-0016-04F2F0B8B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65158" y="4214663"/>
              <a:ext cx="340559" cy="340559"/>
            </a:xfrm>
            <a:prstGeom prst="rect">
              <a:avLst/>
            </a:prstGeom>
          </p:spPr>
        </p:pic>
        <p:pic>
          <p:nvPicPr>
            <p:cNvPr id="16" name="Grafik 15" descr="Kennzeichen mit einfarbiger Füllung">
              <a:extLst>
                <a:ext uri="{FF2B5EF4-FFF2-40B4-BE49-F238E27FC236}">
                  <a16:creationId xmlns:a16="http://schemas.microsoft.com/office/drawing/2014/main" id="{4E01B9B4-40FD-03B6-3DD9-B470AFBC4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77702" y="4459179"/>
              <a:ext cx="340559" cy="340559"/>
            </a:xfrm>
            <a:prstGeom prst="rect">
              <a:avLst/>
            </a:prstGeom>
          </p:spPr>
        </p:pic>
        <p:pic>
          <p:nvPicPr>
            <p:cNvPr id="17" name="Grafik 16" descr="Kennzeichen mit einfarbiger Füllung">
              <a:extLst>
                <a:ext uri="{FF2B5EF4-FFF2-40B4-BE49-F238E27FC236}">
                  <a16:creationId xmlns:a16="http://schemas.microsoft.com/office/drawing/2014/main" id="{825CCC09-8B10-1639-18A7-4810D3DBA3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9614" y="4459179"/>
              <a:ext cx="340559" cy="340559"/>
            </a:xfrm>
            <a:prstGeom prst="rect">
              <a:avLst/>
            </a:prstGeom>
          </p:spPr>
        </p:pic>
      </p:grpSp>
      <p:sp>
        <p:nvSpPr>
          <p:cNvPr id="30" name="Textfeld 29">
            <a:extLst>
              <a:ext uri="{FF2B5EF4-FFF2-40B4-BE49-F238E27FC236}">
                <a16:creationId xmlns:a16="http://schemas.microsoft.com/office/drawing/2014/main" id="{E3183A3B-1E75-E22B-7249-2C79F6850ADD}"/>
              </a:ext>
            </a:extLst>
          </p:cNvPr>
          <p:cNvSpPr txBox="1"/>
          <p:nvPr/>
        </p:nvSpPr>
        <p:spPr>
          <a:xfrm>
            <a:off x="10034787" y="2780113"/>
            <a:ext cx="1801455" cy="9848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sz="1600" dirty="0"/>
              <a:t>Saving 166,000 tons </a:t>
            </a:r>
            <a:br>
              <a:rPr lang="en-US" sz="1600" dirty="0"/>
            </a:br>
            <a:r>
              <a:rPr lang="en-US" sz="1600" dirty="0"/>
              <a:t>of CO2 p.a.</a:t>
            </a:r>
            <a:br>
              <a:rPr lang="en-US" sz="1600" dirty="0"/>
            </a:br>
            <a:r>
              <a:rPr lang="en-US" sz="1600" dirty="0"/>
              <a:t>= all Lufthansa flights </a:t>
            </a:r>
            <a:br>
              <a:rPr lang="en-US" sz="1600" dirty="0"/>
            </a:br>
            <a:r>
              <a:rPr lang="en-US" sz="1600" dirty="0"/>
              <a:t>to and from Poland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1DD8EB37-03E4-36CB-5B43-D629C9F05D57}"/>
              </a:ext>
            </a:extLst>
          </p:cNvPr>
          <p:cNvSpPr txBox="1"/>
          <p:nvPr/>
        </p:nvSpPr>
        <p:spPr>
          <a:xfrm>
            <a:off x="10034788" y="5323783"/>
            <a:ext cx="1350241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/>
              <a:t>5,5% threshold, </a:t>
            </a:r>
            <a:br>
              <a:rPr lang="en-US" sz="1600" dirty="0"/>
            </a:br>
            <a:r>
              <a:rPr lang="en-US" sz="1600" dirty="0"/>
              <a:t>expenses per </a:t>
            </a:r>
            <a:br>
              <a:rPr lang="en-US" sz="1600" dirty="0"/>
            </a:br>
            <a:r>
              <a:rPr lang="en-US" sz="1600" dirty="0"/>
              <a:t>household</a:t>
            </a:r>
          </a:p>
        </p:txBody>
      </p:sp>
      <p:grpSp>
        <p:nvGrpSpPr>
          <p:cNvPr id="173" name="Gruppieren 172">
            <a:extLst>
              <a:ext uri="{FF2B5EF4-FFF2-40B4-BE49-F238E27FC236}">
                <a16:creationId xmlns:a16="http://schemas.microsoft.com/office/drawing/2014/main" id="{82865C20-F8E1-E24A-01F5-93068405BB78}"/>
              </a:ext>
            </a:extLst>
          </p:cNvPr>
          <p:cNvGrpSpPr/>
          <p:nvPr/>
        </p:nvGrpSpPr>
        <p:grpSpPr>
          <a:xfrm>
            <a:off x="8940301" y="5095912"/>
            <a:ext cx="1041144" cy="1041400"/>
            <a:chOff x="4025901" y="3394171"/>
            <a:chExt cx="780858" cy="780858"/>
          </a:xfrm>
        </p:grpSpPr>
        <p:pic>
          <p:nvPicPr>
            <p:cNvPr id="169" name="Grafik 168" descr="Haus mit einfarbiger Füllung">
              <a:extLst>
                <a:ext uri="{FF2B5EF4-FFF2-40B4-BE49-F238E27FC236}">
                  <a16:creationId xmlns:a16="http://schemas.microsoft.com/office/drawing/2014/main" id="{292DDE8E-8C6B-BAEE-846A-F6C7EF4672D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025901" y="3394171"/>
              <a:ext cx="780858" cy="780858"/>
            </a:xfrm>
            <a:prstGeom prst="rect">
              <a:avLst/>
            </a:prstGeom>
          </p:spPr>
        </p:pic>
        <p:grpSp>
          <p:nvGrpSpPr>
            <p:cNvPr id="172" name="Gruppieren 171">
              <a:extLst>
                <a:ext uri="{FF2B5EF4-FFF2-40B4-BE49-F238E27FC236}">
                  <a16:creationId xmlns:a16="http://schemas.microsoft.com/office/drawing/2014/main" id="{2D90F625-EE6E-3EEA-8CCE-D8D4CBA926E5}"/>
                </a:ext>
              </a:extLst>
            </p:cNvPr>
            <p:cNvGrpSpPr/>
            <p:nvPr/>
          </p:nvGrpSpPr>
          <p:grpSpPr>
            <a:xfrm>
              <a:off x="4172622" y="4041141"/>
              <a:ext cx="487770" cy="36000"/>
              <a:chOff x="4172622" y="4041141"/>
              <a:chExt cx="487770" cy="36000"/>
            </a:xfrm>
          </p:grpSpPr>
          <p:sp>
            <p:nvSpPr>
              <p:cNvPr id="170" name="Rechteck 169">
                <a:extLst>
                  <a:ext uri="{FF2B5EF4-FFF2-40B4-BE49-F238E27FC236}">
                    <a16:creationId xmlns:a16="http://schemas.microsoft.com/office/drawing/2014/main" id="{D4EDB475-AFDF-BE45-1CEA-7B903688C0DD}"/>
                  </a:ext>
                </a:extLst>
              </p:cNvPr>
              <p:cNvSpPr/>
              <p:nvPr/>
            </p:nvSpPr>
            <p:spPr>
              <a:xfrm>
                <a:off x="4172622" y="4041141"/>
                <a:ext cx="194400" cy="3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err="1"/>
              </a:p>
            </p:txBody>
          </p:sp>
          <p:sp>
            <p:nvSpPr>
              <p:cNvPr id="171" name="Rechteck 170">
                <a:extLst>
                  <a:ext uri="{FF2B5EF4-FFF2-40B4-BE49-F238E27FC236}">
                    <a16:creationId xmlns:a16="http://schemas.microsoft.com/office/drawing/2014/main" id="{3EA4A3D1-4002-93C0-20FA-1993F49AD003}"/>
                  </a:ext>
                </a:extLst>
              </p:cNvPr>
              <p:cNvSpPr/>
              <p:nvPr/>
            </p:nvSpPr>
            <p:spPr>
              <a:xfrm>
                <a:off x="4465992" y="4041141"/>
                <a:ext cx="194400" cy="36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67" err="1"/>
              </a:p>
            </p:txBody>
          </p:sp>
        </p:grpSp>
      </p:grpSp>
      <p:pic>
        <p:nvPicPr>
          <p:cNvPr id="177" name="Grafik 176" descr="Abheben mit einfarbiger Füllung">
            <a:extLst>
              <a:ext uri="{FF2B5EF4-FFF2-40B4-BE49-F238E27FC236}">
                <a16:creationId xmlns:a16="http://schemas.microsoft.com/office/drawing/2014/main" id="{8C6C51A0-60A4-7E5A-A9EE-CEC9707A4E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999686" y="2890685"/>
            <a:ext cx="732367" cy="732367"/>
          </a:xfrm>
          <a:prstGeom prst="rect">
            <a:avLst/>
          </a:prstGeom>
        </p:spPr>
      </p:pic>
      <p:sp>
        <p:nvSpPr>
          <p:cNvPr id="186" name="Textfeld 185">
            <a:extLst>
              <a:ext uri="{FF2B5EF4-FFF2-40B4-BE49-F238E27FC236}">
                <a16:creationId xmlns:a16="http://schemas.microsoft.com/office/drawing/2014/main" id="{1140157F-3A27-A4F6-8C5C-52B9DFFE8F00}"/>
              </a:ext>
            </a:extLst>
          </p:cNvPr>
          <p:cNvSpPr txBox="1"/>
          <p:nvPr/>
        </p:nvSpPr>
        <p:spPr>
          <a:xfrm>
            <a:off x="2024794" y="1614204"/>
            <a:ext cx="6484467" cy="3282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2133" dirty="0"/>
              <a:t>Investment Volume E.ON is prepared to spent &gt; 200 </a:t>
            </a:r>
            <a:r>
              <a:rPr lang="en-US" sz="2133" dirty="0" err="1"/>
              <a:t>mEUR</a:t>
            </a:r>
            <a:endParaRPr lang="en-US" sz="2133" dirty="0"/>
          </a:p>
        </p:txBody>
      </p:sp>
      <p:graphicFrame>
        <p:nvGraphicFramePr>
          <p:cNvPr id="58" name="Tabelle 57">
            <a:extLst>
              <a:ext uri="{FF2B5EF4-FFF2-40B4-BE49-F238E27FC236}">
                <a16:creationId xmlns:a16="http://schemas.microsoft.com/office/drawing/2014/main" id="{D4011264-7D40-D27F-11AC-2BDA196206B0}"/>
              </a:ext>
            </a:extLst>
          </p:cNvPr>
          <p:cNvGraphicFramePr>
            <a:graphicFrameLocks noGrp="1"/>
          </p:cNvGraphicFramePr>
          <p:nvPr/>
        </p:nvGraphicFramePr>
        <p:xfrm>
          <a:off x="334258" y="4244119"/>
          <a:ext cx="3381073" cy="2459641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1521213">
                  <a:extLst>
                    <a:ext uri="{9D8B030D-6E8A-4147-A177-3AD203B41FA5}">
                      <a16:colId xmlns:a16="http://schemas.microsoft.com/office/drawing/2014/main" val="4106402945"/>
                    </a:ext>
                  </a:extLst>
                </a:gridCol>
                <a:gridCol w="1859860">
                  <a:extLst>
                    <a:ext uri="{9D8B030D-6E8A-4147-A177-3AD203B41FA5}">
                      <a16:colId xmlns:a16="http://schemas.microsoft.com/office/drawing/2014/main" val="1579511757"/>
                    </a:ext>
                  </a:extLst>
                </a:gridCol>
              </a:tblGrid>
              <a:tr h="304800">
                <a:tc gridSpan="2">
                  <a:txBody>
                    <a:bodyPr/>
                    <a:lstStyle/>
                    <a:p>
                      <a:pPr marL="0" indent="0" algn="ctr" rtl="0">
                        <a:buClr>
                          <a:schemeClr val="accent6">
                            <a:lumMod val="50000"/>
                          </a:schemeClr>
                        </a:buClr>
                        <a:buFont typeface="+mj-lt"/>
                        <a:buNone/>
                      </a:pPr>
                      <a:r>
                        <a:rPr lang="en-GB" sz="1200" dirty="0">
                          <a:latin typeface="+mn-lt"/>
                        </a:rPr>
                        <a:t>Range of solutions considered</a:t>
                      </a:r>
                    </a:p>
                  </a:txBody>
                  <a:tcPr marL="121920" marR="121920" marT="60960" marB="60960">
                    <a:lnL w="9525" cap="flat" cmpd="sng" algn="ctr">
                      <a:noFill/>
                      <a:prstDash val="soli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buClr>
                          <a:schemeClr val="accent6">
                            <a:lumMod val="50000"/>
                          </a:schemeClr>
                        </a:buClr>
                        <a:buFont typeface="+mj-lt"/>
                        <a:buNone/>
                      </a:pPr>
                      <a:endParaRPr lang="en-US" sz="1100" dirty="0">
                        <a:latin typeface="+mn-lt"/>
                      </a:endParaRPr>
                    </a:p>
                  </a:txBody>
                  <a:tcP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3189417"/>
                  </a:ext>
                </a:extLst>
              </a:tr>
              <a:tr h="1887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</a:schemeClr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+mn-lt"/>
                        </a:rPr>
                        <a:t>RES</a:t>
                      </a:r>
                    </a:p>
                  </a:txBody>
                  <a:tcPr marL="121920" marR="1219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</a:schemeClr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200" b="1" dirty="0" err="1">
                          <a:solidFill>
                            <a:schemeClr val="tx1"/>
                          </a:solidFill>
                          <a:latin typeface="+mn-lt"/>
                        </a:rPr>
                        <a:t>Biomasse</a:t>
                      </a:r>
                      <a:endParaRPr lang="en-GB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900533"/>
                  </a:ext>
                </a:extLst>
              </a:tr>
              <a:tr h="655368">
                <a:tc>
                  <a:txBody>
                    <a:bodyPr/>
                    <a:lstStyle/>
                    <a:p>
                      <a:pPr marL="90488" lvl="0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lar thermal</a:t>
                      </a:r>
                    </a:p>
                    <a:p>
                      <a:pPr marL="90488" lvl="0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othermal</a:t>
                      </a:r>
                    </a:p>
                    <a:p>
                      <a:pPr marL="90488" lvl="0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at pump</a:t>
                      </a:r>
                    </a:p>
                  </a:txBody>
                  <a:tcPr marL="121920" marR="121920" marT="48000" marB="4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488" lvl="0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B biomass</a:t>
                      </a:r>
                    </a:p>
                    <a:p>
                      <a:pPr marL="90488" lvl="0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C biomass</a:t>
                      </a:r>
                    </a:p>
                  </a:txBody>
                  <a:tcPr marL="121920" marR="121920" marT="48000" marB="4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90999810"/>
                  </a:ext>
                </a:extLst>
              </a:tr>
              <a:tr h="18873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</a:schemeClr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ctric</a:t>
                      </a:r>
                    </a:p>
                  </a:txBody>
                  <a:tcPr marL="121920" marR="1219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</a:schemeClr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as</a:t>
                      </a:r>
                    </a:p>
                  </a:txBody>
                  <a:tcPr marL="121920" marR="12192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9105387"/>
                  </a:ext>
                </a:extLst>
              </a:tr>
              <a:tr h="466635">
                <a:tc>
                  <a:txBody>
                    <a:bodyPr/>
                    <a:lstStyle/>
                    <a:p>
                      <a:pPr marL="90488" marR="0" lvl="0" indent="-904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6">
                            <a:lumMod val="50000"/>
                          </a:schemeClr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lectric boiler</a:t>
                      </a:r>
                    </a:p>
                  </a:txBody>
                  <a:tcPr marL="121920" marR="121920" marT="48000" marB="4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90488" lvl="0" indent="-90488" algn="l" rtl="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HOB gas</a:t>
                      </a:r>
                    </a:p>
                    <a:p>
                      <a:pPr marL="90488" lvl="0" indent="-90488" algn="l" rtl="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CHP gas</a:t>
                      </a:r>
                    </a:p>
                  </a:txBody>
                  <a:tcPr marL="121920" marR="121920" marT="48000" marB="4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9672714"/>
                  </a:ext>
                </a:extLst>
              </a:tr>
              <a:tr h="655368">
                <a:tc gridSpan="2">
                  <a:txBody>
                    <a:bodyPr/>
                    <a:lstStyle/>
                    <a:p>
                      <a:pPr algn="l" rtl="0"/>
                      <a:r>
                        <a:rPr lang="en-GB" sz="1200" b="1" noProof="0" dirty="0">
                          <a:solidFill>
                            <a:schemeClr val="tx1"/>
                          </a:solidFill>
                        </a:rPr>
                        <a:t>+ Optimisation of existing grids: </a:t>
                      </a:r>
                      <a:r>
                        <a:rPr lang="en-GB" sz="1200" noProof="0" dirty="0">
                          <a:solidFill>
                            <a:schemeClr val="tx1"/>
                          </a:solidFill>
                        </a:rPr>
                        <a:t>digitisation, grid temperature reduction, storage tanks, grid accumulation</a:t>
                      </a:r>
                    </a:p>
                  </a:txBody>
                  <a:tcPr marL="121920" marR="121920" marT="48000" marB="4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90488" lvl="0" indent="-90488">
                        <a:buFont typeface="Arial" panose="020B0604020202020204" pitchFamily="34" charset="0"/>
                        <a:buChar char="•"/>
                      </a:pPr>
                      <a:endParaRPr lang="en-GB" sz="950" dirty="0">
                        <a:latin typeface="+mn-lt"/>
                      </a:endParaRPr>
                    </a:p>
                  </a:txBody>
                  <a:tcPr marT="36000" marB="36000">
                    <a:lnL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937465844"/>
                  </a:ext>
                </a:extLst>
              </a:tr>
            </a:tbl>
          </a:graphicData>
        </a:graphic>
      </p:graphicFrame>
      <p:pic>
        <p:nvPicPr>
          <p:cNvPr id="62" name="Grafik 61">
            <a:extLst>
              <a:ext uri="{FF2B5EF4-FFF2-40B4-BE49-F238E27FC236}">
                <a16:creationId xmlns:a16="http://schemas.microsoft.com/office/drawing/2014/main" id="{45B7ED12-8BE1-DE68-340E-25FF0CBEC7B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32370" y="4522109"/>
            <a:ext cx="3996012" cy="2119227"/>
          </a:xfrm>
          <a:prstGeom prst="rect">
            <a:avLst/>
          </a:prstGeom>
          <a:ln>
            <a:solidFill>
              <a:schemeClr val="accent5"/>
            </a:solidFill>
          </a:ln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027BA25-56C3-D607-BA9B-A35263DF381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34257" y="2194677"/>
            <a:ext cx="3391595" cy="1882231"/>
          </a:xfrm>
          <a:prstGeom prst="rect">
            <a:avLst/>
          </a:prstGeom>
          <a:ln>
            <a:solidFill>
              <a:schemeClr val="accent5"/>
            </a:solidFill>
          </a:ln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04D4B62-5458-C18A-AFF5-B7065F869B4F}"/>
              </a:ext>
            </a:extLst>
          </p:cNvPr>
          <p:cNvGrpSpPr/>
          <p:nvPr/>
        </p:nvGrpSpPr>
        <p:grpSpPr>
          <a:xfrm>
            <a:off x="4018065" y="2212816"/>
            <a:ext cx="3997180" cy="2220656"/>
            <a:chOff x="3999778" y="2124386"/>
            <a:chExt cx="3997180" cy="2220656"/>
          </a:xfrm>
        </p:grpSpPr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27D5D28A-7EEE-3804-78FF-BE796F1499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999778" y="2124386"/>
              <a:ext cx="3997180" cy="2220656"/>
            </a:xfrm>
            <a:prstGeom prst="rect">
              <a:avLst/>
            </a:prstGeom>
            <a:ln>
              <a:solidFill>
                <a:schemeClr val="accent5"/>
              </a:solidFill>
            </a:ln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C0CF59A7-F7BA-6DCF-B310-A3DA0462D2B1}"/>
                </a:ext>
              </a:extLst>
            </p:cNvPr>
            <p:cNvSpPr txBox="1"/>
            <p:nvPr/>
          </p:nvSpPr>
          <p:spPr>
            <a:xfrm>
              <a:off x="5862565" y="2909229"/>
              <a:ext cx="466869" cy="230832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&gt; 8 %</a:t>
              </a:r>
            </a:p>
          </p:txBody>
        </p:sp>
        <p:sp>
          <p:nvSpPr>
            <p:cNvPr id="4" name="Textfeld 3">
              <a:extLst>
                <a:ext uri="{FF2B5EF4-FFF2-40B4-BE49-F238E27FC236}">
                  <a16:creationId xmlns:a16="http://schemas.microsoft.com/office/drawing/2014/main" id="{0570FE8C-DAF0-5F10-A4D9-FF29E8E414CE}"/>
                </a:ext>
              </a:extLst>
            </p:cNvPr>
            <p:cNvSpPr txBox="1"/>
            <p:nvPr/>
          </p:nvSpPr>
          <p:spPr>
            <a:xfrm>
              <a:off x="5862565" y="3758167"/>
              <a:ext cx="466869" cy="230832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rtlCol="0">
              <a:spAutoFit/>
            </a:bodyPr>
            <a:lstStyle/>
            <a:p>
              <a:r>
                <a:rPr lang="de-DE" sz="900" dirty="0"/>
                <a:t>&lt; 7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69632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C82CD228-096C-CDEB-C5A0-A040E1F25F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Folie" r:id="rId5" imgW="498" imgH="499" progId="TCLayout.ActiveDocument.1">
                  <p:embed/>
                </p:oleObj>
              </mc:Choice>
              <mc:Fallback>
                <p:oleObj name="think-cell Folie" r:id="rId5" imgW="498" imgH="499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C82CD228-096C-CDEB-C5A0-A040E1F25F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A4DE1C6-805A-74E7-EBD8-B7448B4F26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4862" y="192603"/>
            <a:ext cx="5610648" cy="856901"/>
          </a:xfrm>
        </p:spPr>
        <p:txBody>
          <a:bodyPr vert="horz"/>
          <a:lstStyle/>
          <a:p>
            <a:r>
              <a:rPr lang="en-US" sz="2800" b="1" dirty="0">
                <a:solidFill>
                  <a:srgbClr val="EA1B0A"/>
                </a:solidFill>
              </a:rPr>
              <a:t>Climate-neutral district heating in the G</a:t>
            </a:r>
            <a:r>
              <a:rPr lang="de-DE" sz="2800" b="1" dirty="0">
                <a:solidFill>
                  <a:srgbClr val="EA1B0A"/>
                </a:solidFill>
              </a:rPr>
              <a:t>ö</a:t>
            </a:r>
            <a:r>
              <a:rPr lang="en-US" sz="2800" b="1" dirty="0" err="1">
                <a:solidFill>
                  <a:srgbClr val="EA1B0A"/>
                </a:solidFill>
              </a:rPr>
              <a:t>rlitz</a:t>
            </a:r>
            <a:r>
              <a:rPr lang="pl-PL" sz="2800" b="1" dirty="0">
                <a:solidFill>
                  <a:srgbClr val="EA1B0A"/>
                </a:solidFill>
              </a:rPr>
              <a:t> </a:t>
            </a:r>
            <a:r>
              <a:rPr lang="en-US" sz="2800" b="1" dirty="0">
                <a:solidFill>
                  <a:srgbClr val="EA1B0A"/>
                </a:solidFill>
              </a:rPr>
              <a:t>Zgorzelec </a:t>
            </a:r>
            <a:br>
              <a:rPr lang="pl-PL" sz="2800" b="1" dirty="0">
                <a:solidFill>
                  <a:srgbClr val="EA1B0A"/>
                </a:solidFill>
              </a:rPr>
            </a:br>
            <a:r>
              <a:rPr lang="en-US" sz="2800" b="1" dirty="0">
                <a:solidFill>
                  <a:srgbClr val="EA1B0A"/>
                </a:solidFill>
              </a:rPr>
              <a:t>A </a:t>
            </a:r>
            <a:r>
              <a:rPr lang="en-US" sz="2800" b="1" dirty="0" err="1">
                <a:solidFill>
                  <a:srgbClr val="EA1B0A"/>
                </a:solidFill>
              </a:rPr>
              <a:t>crossborder</a:t>
            </a:r>
            <a:r>
              <a:rPr lang="en-US" sz="2800" b="1" dirty="0">
                <a:solidFill>
                  <a:srgbClr val="EA1B0A"/>
                </a:solidFill>
              </a:rPr>
              <a:t> lighthouse project</a:t>
            </a:r>
            <a:endParaRPr lang="en-GB" sz="2800" dirty="0"/>
          </a:p>
        </p:txBody>
      </p:sp>
      <p:sp>
        <p:nvSpPr>
          <p:cNvPr id="33" name="Foliennummernplatzhalter 32">
            <a:extLst>
              <a:ext uri="{FF2B5EF4-FFF2-40B4-BE49-F238E27FC236}">
                <a16:creationId xmlns:a16="http://schemas.microsoft.com/office/drawing/2014/main" id="{B793D668-BB42-F6FA-33C7-8116F242B7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7200" y="6431721"/>
            <a:ext cx="364800" cy="192000"/>
          </a:xfrm>
        </p:spPr>
        <p:txBody>
          <a:bodyPr/>
          <a:lstStyle/>
          <a:p>
            <a:pPr defTabSz="914377"/>
            <a:fld id="{93C795C4-4A26-412B-AA90-98E97FF83D41}" type="slidenum">
              <a:rPr lang="en-GB">
                <a:solidFill>
                  <a:srgbClr val="262626"/>
                </a:solidFill>
                <a:latin typeface="EON Brix Sans"/>
              </a:rPr>
              <a:pPr defTabSz="914377"/>
              <a:t>4</a:t>
            </a:fld>
            <a:endParaRPr lang="en-GB">
              <a:solidFill>
                <a:srgbClr val="262626"/>
              </a:solidFill>
              <a:latin typeface="EON Brix Sans"/>
            </a:endParaRPr>
          </a:p>
        </p:txBody>
      </p:sp>
      <p:grpSp>
        <p:nvGrpSpPr>
          <p:cNvPr id="184" name="Google Shape;1092;p10">
            <a:extLst>
              <a:ext uri="{FF2B5EF4-FFF2-40B4-BE49-F238E27FC236}">
                <a16:creationId xmlns:a16="http://schemas.microsoft.com/office/drawing/2014/main" id="{92176493-4984-3620-E263-6056CB519A58}"/>
              </a:ext>
            </a:extLst>
          </p:cNvPr>
          <p:cNvGrpSpPr/>
          <p:nvPr/>
        </p:nvGrpSpPr>
        <p:grpSpPr>
          <a:xfrm>
            <a:off x="18573" y="73315"/>
            <a:ext cx="5663711" cy="6750164"/>
            <a:chOff x="442801" y="2342970"/>
            <a:chExt cx="3563394" cy="3830190"/>
          </a:xfrm>
        </p:grpSpPr>
        <p:grpSp>
          <p:nvGrpSpPr>
            <p:cNvPr id="185" name="Google Shape;1093;p10">
              <a:extLst>
                <a:ext uri="{FF2B5EF4-FFF2-40B4-BE49-F238E27FC236}">
                  <a16:creationId xmlns:a16="http://schemas.microsoft.com/office/drawing/2014/main" id="{3559F5AF-008D-CF36-6B5F-218B6E8539B9}"/>
                </a:ext>
              </a:extLst>
            </p:cNvPr>
            <p:cNvGrpSpPr/>
            <p:nvPr/>
          </p:nvGrpSpPr>
          <p:grpSpPr>
            <a:xfrm>
              <a:off x="442801" y="2342970"/>
              <a:ext cx="3550380" cy="3830190"/>
              <a:chOff x="6359943" y="370006"/>
              <a:chExt cx="5379212" cy="5803154"/>
            </a:xfrm>
          </p:grpSpPr>
          <p:pic>
            <p:nvPicPr>
              <p:cNvPr id="229" name="Google Shape;1094;p10">
                <a:extLst>
                  <a:ext uri="{FF2B5EF4-FFF2-40B4-BE49-F238E27FC236}">
                    <a16:creationId xmlns:a16="http://schemas.microsoft.com/office/drawing/2014/main" id="{AD926617-9B6E-213C-8E14-10450DFDE5AC}"/>
                  </a:ext>
                </a:extLst>
              </p:cNvPr>
              <p:cNvPicPr preferRelativeResize="0"/>
              <p:nvPr/>
            </p:nvPicPr>
            <p:blipFill rotWithShape="1">
              <a:blip r:embed="rId7">
                <a:alphaModFix amt="70000"/>
              </a:blip>
              <a:srcRect/>
              <a:stretch/>
            </p:blipFill>
            <p:spPr>
              <a:xfrm>
                <a:off x="6359943" y="370006"/>
                <a:ext cx="5379212" cy="5803154"/>
              </a:xfrm>
              <a:prstGeom prst="rect">
                <a:avLst/>
              </a:prstGeom>
              <a:noFill/>
              <a:ln>
                <a:noFill/>
              </a:ln>
            </p:spPr>
          </p:pic>
          <p:sp>
            <p:nvSpPr>
              <p:cNvPr id="230" name="Google Shape;1095;p10">
                <a:extLst>
                  <a:ext uri="{FF2B5EF4-FFF2-40B4-BE49-F238E27FC236}">
                    <a16:creationId xmlns:a16="http://schemas.microsoft.com/office/drawing/2014/main" id="{00BDC71C-F047-6F3B-D7C7-54472FFCFAA5}"/>
                  </a:ext>
                </a:extLst>
              </p:cNvPr>
              <p:cNvSpPr/>
              <p:nvPr/>
            </p:nvSpPr>
            <p:spPr>
              <a:xfrm>
                <a:off x="6380523" y="2717519"/>
                <a:ext cx="907631" cy="1014180"/>
              </a:xfrm>
              <a:custGeom>
                <a:avLst/>
                <a:gdLst/>
                <a:ahLst/>
                <a:cxnLst/>
                <a:rect l="l" t="t" r="r" b="b"/>
                <a:pathLst>
                  <a:path w="3505200" h="3916680" extrusionOk="0">
                    <a:moveTo>
                      <a:pt x="883920" y="3627120"/>
                    </a:moveTo>
                    <a:lnTo>
                      <a:pt x="883920" y="3627120"/>
                    </a:lnTo>
                    <a:lnTo>
                      <a:pt x="960120" y="3185160"/>
                    </a:lnTo>
                    <a:lnTo>
                      <a:pt x="1264920" y="3108960"/>
                    </a:lnTo>
                    <a:lnTo>
                      <a:pt x="2263140" y="3124200"/>
                    </a:lnTo>
                    <a:lnTo>
                      <a:pt x="2286000" y="2735580"/>
                    </a:lnTo>
                    <a:lnTo>
                      <a:pt x="1607820" y="2720340"/>
                    </a:lnTo>
                    <a:lnTo>
                      <a:pt x="1752600" y="2468880"/>
                    </a:lnTo>
                    <a:lnTo>
                      <a:pt x="2240280" y="2461260"/>
                    </a:lnTo>
                    <a:lnTo>
                      <a:pt x="2255520" y="2316480"/>
                    </a:lnTo>
                    <a:lnTo>
                      <a:pt x="1874520" y="1714500"/>
                    </a:lnTo>
                    <a:lnTo>
                      <a:pt x="1196340" y="1386840"/>
                    </a:lnTo>
                    <a:lnTo>
                      <a:pt x="213360" y="1165860"/>
                    </a:lnTo>
                    <a:lnTo>
                      <a:pt x="0" y="1036320"/>
                    </a:lnTo>
                    <a:lnTo>
                      <a:pt x="7620" y="701040"/>
                    </a:lnTo>
                    <a:lnTo>
                      <a:pt x="373380" y="784860"/>
                    </a:lnTo>
                    <a:lnTo>
                      <a:pt x="1127760" y="1211580"/>
                    </a:lnTo>
                    <a:lnTo>
                      <a:pt x="1699260" y="15240"/>
                    </a:lnTo>
                    <a:lnTo>
                      <a:pt x="1988820" y="0"/>
                    </a:lnTo>
                    <a:lnTo>
                      <a:pt x="1394460" y="1234440"/>
                    </a:lnTo>
                    <a:lnTo>
                      <a:pt x="2011680" y="1501140"/>
                    </a:lnTo>
                    <a:lnTo>
                      <a:pt x="2004060" y="1219200"/>
                    </a:lnTo>
                    <a:lnTo>
                      <a:pt x="2491740" y="1150620"/>
                    </a:lnTo>
                    <a:lnTo>
                      <a:pt x="2598420" y="685800"/>
                    </a:lnTo>
                    <a:lnTo>
                      <a:pt x="2331720" y="579120"/>
                    </a:lnTo>
                    <a:lnTo>
                      <a:pt x="2560320" y="114300"/>
                    </a:lnTo>
                    <a:lnTo>
                      <a:pt x="3276600" y="541020"/>
                    </a:lnTo>
                    <a:lnTo>
                      <a:pt x="3284220" y="1325880"/>
                    </a:lnTo>
                    <a:lnTo>
                      <a:pt x="3505200" y="2758440"/>
                    </a:lnTo>
                    <a:lnTo>
                      <a:pt x="3124200" y="3459480"/>
                    </a:lnTo>
                    <a:lnTo>
                      <a:pt x="2971800" y="3916680"/>
                    </a:lnTo>
                    <a:lnTo>
                      <a:pt x="2522220" y="3886200"/>
                    </a:lnTo>
                    <a:lnTo>
                      <a:pt x="2339340" y="3649980"/>
                    </a:lnTo>
                    <a:lnTo>
                      <a:pt x="883920" y="3627120"/>
                    </a:lnTo>
                    <a:close/>
                  </a:path>
                </a:pathLst>
              </a:custGeom>
              <a:solidFill>
                <a:srgbClr val="D04A02">
                  <a:alpha val="4823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 defTabSz="914377">
                  <a:buClr>
                    <a:srgbClr val="000000"/>
                  </a:buClr>
                  <a:buSzPts val="1800"/>
                  <a:defRPr/>
                </a:pPr>
                <a:endParaRPr sz="2400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1" name="Google Shape;1096;p10">
                <a:extLst>
                  <a:ext uri="{FF2B5EF4-FFF2-40B4-BE49-F238E27FC236}">
                    <a16:creationId xmlns:a16="http://schemas.microsoft.com/office/drawing/2014/main" id="{1385343E-7250-1881-8F16-50A68390F88F}"/>
                  </a:ext>
                </a:extLst>
              </p:cNvPr>
              <p:cNvSpPr/>
              <p:nvPr/>
            </p:nvSpPr>
            <p:spPr>
              <a:xfrm>
                <a:off x="8399590" y="4751929"/>
                <a:ext cx="949298" cy="1287134"/>
              </a:xfrm>
              <a:custGeom>
                <a:avLst/>
                <a:gdLst/>
                <a:ahLst/>
                <a:cxnLst/>
                <a:rect l="l" t="t" r="r" b="b"/>
                <a:pathLst>
                  <a:path w="2236662" h="3032650" extrusionOk="0">
                    <a:moveTo>
                      <a:pt x="1414360" y="6578"/>
                    </a:moveTo>
                    <a:lnTo>
                      <a:pt x="1973525" y="0"/>
                    </a:lnTo>
                    <a:lnTo>
                      <a:pt x="2151142" y="65784"/>
                    </a:lnTo>
                    <a:lnTo>
                      <a:pt x="2236662" y="532851"/>
                    </a:lnTo>
                    <a:lnTo>
                      <a:pt x="2190613" y="967027"/>
                    </a:lnTo>
                    <a:lnTo>
                      <a:pt x="1881427" y="1032811"/>
                    </a:lnTo>
                    <a:lnTo>
                      <a:pt x="1716967" y="953870"/>
                    </a:lnTo>
                    <a:lnTo>
                      <a:pt x="1480144" y="638106"/>
                    </a:lnTo>
                    <a:lnTo>
                      <a:pt x="1302527" y="986762"/>
                    </a:lnTo>
                    <a:lnTo>
                      <a:pt x="940714" y="973605"/>
                    </a:lnTo>
                    <a:lnTo>
                      <a:pt x="815724" y="1341997"/>
                    </a:lnTo>
                    <a:lnTo>
                      <a:pt x="1309105" y="1598555"/>
                    </a:lnTo>
                    <a:lnTo>
                      <a:pt x="1394624" y="1309105"/>
                    </a:lnTo>
                    <a:lnTo>
                      <a:pt x="1868270" y="1473565"/>
                    </a:lnTo>
                    <a:lnTo>
                      <a:pt x="1552506" y="1697231"/>
                    </a:lnTo>
                    <a:lnTo>
                      <a:pt x="1460409" y="1960368"/>
                    </a:lnTo>
                    <a:lnTo>
                      <a:pt x="1670918" y="2072201"/>
                    </a:lnTo>
                    <a:lnTo>
                      <a:pt x="1644604" y="2236662"/>
                    </a:lnTo>
                    <a:lnTo>
                      <a:pt x="1881427" y="2368230"/>
                    </a:lnTo>
                    <a:lnTo>
                      <a:pt x="1802486" y="2466906"/>
                    </a:lnTo>
                    <a:lnTo>
                      <a:pt x="1552506" y="2381387"/>
                    </a:lnTo>
                    <a:lnTo>
                      <a:pt x="1578820" y="2993180"/>
                    </a:lnTo>
                    <a:lnTo>
                      <a:pt x="1026233" y="3032650"/>
                    </a:lnTo>
                    <a:lnTo>
                      <a:pt x="934135" y="2512955"/>
                    </a:lnTo>
                    <a:lnTo>
                      <a:pt x="210509" y="2309024"/>
                    </a:lnTo>
                    <a:lnTo>
                      <a:pt x="434175" y="1631447"/>
                    </a:lnTo>
                    <a:lnTo>
                      <a:pt x="0" y="1466987"/>
                    </a:lnTo>
                    <a:lnTo>
                      <a:pt x="78941" y="1295948"/>
                    </a:lnTo>
                    <a:lnTo>
                      <a:pt x="243401" y="1388046"/>
                    </a:lnTo>
                    <a:lnTo>
                      <a:pt x="203931" y="1453830"/>
                    </a:lnTo>
                    <a:lnTo>
                      <a:pt x="473646" y="1552506"/>
                    </a:lnTo>
                    <a:lnTo>
                      <a:pt x="578901" y="1269634"/>
                    </a:lnTo>
                    <a:lnTo>
                      <a:pt x="684155" y="1295948"/>
                    </a:lnTo>
                    <a:lnTo>
                      <a:pt x="809145" y="947292"/>
                    </a:lnTo>
                    <a:lnTo>
                      <a:pt x="578901" y="815723"/>
                    </a:lnTo>
                    <a:lnTo>
                      <a:pt x="644685" y="631528"/>
                    </a:lnTo>
                    <a:lnTo>
                      <a:pt x="868351" y="723626"/>
                    </a:lnTo>
                    <a:lnTo>
                      <a:pt x="848616" y="769675"/>
                    </a:lnTo>
                    <a:lnTo>
                      <a:pt x="1230164" y="874929"/>
                    </a:lnTo>
                    <a:lnTo>
                      <a:pt x="1269634" y="526273"/>
                    </a:lnTo>
                    <a:lnTo>
                      <a:pt x="1420938" y="480224"/>
                    </a:lnTo>
                    <a:cubicBezTo>
                      <a:pt x="1418745" y="322342"/>
                      <a:pt x="1416553" y="164460"/>
                      <a:pt x="1414360" y="6578"/>
                    </a:cubicBezTo>
                    <a:close/>
                  </a:path>
                </a:pathLst>
              </a:custGeom>
              <a:solidFill>
                <a:srgbClr val="D04A02">
                  <a:alpha val="4823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 defTabSz="914377">
                  <a:buClr>
                    <a:srgbClr val="000000"/>
                  </a:buClr>
                  <a:buSzPts val="1800"/>
                  <a:defRPr/>
                </a:pPr>
                <a:endParaRPr sz="2400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2" name="Google Shape;1097;p10">
                <a:extLst>
                  <a:ext uri="{FF2B5EF4-FFF2-40B4-BE49-F238E27FC236}">
                    <a16:creationId xmlns:a16="http://schemas.microsoft.com/office/drawing/2014/main" id="{24C06D53-B9F0-D6E2-9728-88D5EB3C2FBC}"/>
                  </a:ext>
                </a:extLst>
              </p:cNvPr>
              <p:cNvSpPr/>
              <p:nvPr/>
            </p:nvSpPr>
            <p:spPr>
              <a:xfrm>
                <a:off x="8627796" y="393000"/>
                <a:ext cx="881606" cy="1952954"/>
              </a:xfrm>
              <a:custGeom>
                <a:avLst/>
                <a:gdLst/>
                <a:ahLst/>
                <a:cxnLst/>
                <a:rect l="l" t="t" r="r" b="b"/>
                <a:pathLst>
                  <a:path w="2419350" h="5359400" extrusionOk="0">
                    <a:moveTo>
                      <a:pt x="565150" y="5207000"/>
                    </a:moveTo>
                    <a:lnTo>
                      <a:pt x="1619250" y="4908550"/>
                    </a:lnTo>
                    <a:lnTo>
                      <a:pt x="2089150" y="4432300"/>
                    </a:lnTo>
                    <a:lnTo>
                      <a:pt x="1955800" y="4216400"/>
                    </a:lnTo>
                    <a:lnTo>
                      <a:pt x="1492250" y="4165600"/>
                    </a:lnTo>
                    <a:lnTo>
                      <a:pt x="1320800" y="3238500"/>
                    </a:lnTo>
                    <a:lnTo>
                      <a:pt x="1657350" y="2736850"/>
                    </a:lnTo>
                    <a:lnTo>
                      <a:pt x="1536700" y="2470150"/>
                    </a:lnTo>
                    <a:lnTo>
                      <a:pt x="1289050" y="2349500"/>
                    </a:lnTo>
                    <a:lnTo>
                      <a:pt x="1377950" y="1581150"/>
                    </a:lnTo>
                    <a:lnTo>
                      <a:pt x="1193800" y="1212850"/>
                    </a:lnTo>
                    <a:lnTo>
                      <a:pt x="1898650" y="946150"/>
                    </a:lnTo>
                    <a:lnTo>
                      <a:pt x="2330450" y="831850"/>
                    </a:lnTo>
                    <a:lnTo>
                      <a:pt x="2419350" y="584200"/>
                    </a:lnTo>
                    <a:lnTo>
                      <a:pt x="2000250" y="374650"/>
                    </a:lnTo>
                    <a:lnTo>
                      <a:pt x="1866900" y="107950"/>
                    </a:lnTo>
                    <a:lnTo>
                      <a:pt x="1511300" y="0"/>
                    </a:lnTo>
                    <a:lnTo>
                      <a:pt x="323850" y="425450"/>
                    </a:lnTo>
                    <a:lnTo>
                      <a:pt x="279400" y="1206500"/>
                    </a:lnTo>
                    <a:lnTo>
                      <a:pt x="400050" y="1473200"/>
                    </a:lnTo>
                    <a:lnTo>
                      <a:pt x="0" y="1701800"/>
                    </a:lnTo>
                    <a:lnTo>
                      <a:pt x="146050" y="2133600"/>
                    </a:lnTo>
                    <a:lnTo>
                      <a:pt x="171450" y="2457450"/>
                    </a:lnTo>
                    <a:lnTo>
                      <a:pt x="482600" y="2489200"/>
                    </a:lnTo>
                    <a:lnTo>
                      <a:pt x="469900" y="2762250"/>
                    </a:lnTo>
                    <a:lnTo>
                      <a:pt x="844550" y="3905250"/>
                    </a:lnTo>
                    <a:lnTo>
                      <a:pt x="876300" y="5003800"/>
                    </a:lnTo>
                    <a:lnTo>
                      <a:pt x="469900" y="5137150"/>
                    </a:lnTo>
                    <a:lnTo>
                      <a:pt x="476250" y="5359400"/>
                    </a:lnTo>
                    <a:lnTo>
                      <a:pt x="558800" y="5359400"/>
                    </a:lnTo>
                    <a:lnTo>
                      <a:pt x="565150" y="5207000"/>
                    </a:lnTo>
                    <a:close/>
                  </a:path>
                </a:pathLst>
              </a:custGeom>
              <a:solidFill>
                <a:srgbClr val="D04A02">
                  <a:alpha val="4823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 defTabSz="914377">
                  <a:buClr>
                    <a:srgbClr val="000000"/>
                  </a:buClr>
                  <a:buSzPts val="1800"/>
                  <a:defRPr/>
                </a:pPr>
                <a:endParaRPr sz="2400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3" name="Google Shape;1098;p10">
                <a:extLst>
                  <a:ext uri="{FF2B5EF4-FFF2-40B4-BE49-F238E27FC236}">
                    <a16:creationId xmlns:a16="http://schemas.microsoft.com/office/drawing/2014/main" id="{511F4436-0631-46EB-4824-7710A38B3A59}"/>
                  </a:ext>
                </a:extLst>
              </p:cNvPr>
              <p:cNvSpPr/>
              <p:nvPr/>
            </p:nvSpPr>
            <p:spPr>
              <a:xfrm>
                <a:off x="8898967" y="3508764"/>
                <a:ext cx="464189" cy="864987"/>
              </a:xfrm>
              <a:custGeom>
                <a:avLst/>
                <a:gdLst/>
                <a:ahLst/>
                <a:cxnLst/>
                <a:rect l="l" t="t" r="r" b="b"/>
                <a:pathLst>
                  <a:path w="1515101" h="2823293" extrusionOk="0">
                    <a:moveTo>
                      <a:pt x="1288170" y="0"/>
                    </a:moveTo>
                    <a:lnTo>
                      <a:pt x="1515101" y="53396"/>
                    </a:lnTo>
                    <a:lnTo>
                      <a:pt x="1414984" y="300350"/>
                    </a:lnTo>
                    <a:lnTo>
                      <a:pt x="1021191" y="193559"/>
                    </a:lnTo>
                    <a:lnTo>
                      <a:pt x="854330" y="901051"/>
                    </a:lnTo>
                    <a:lnTo>
                      <a:pt x="881028" y="1127982"/>
                    </a:lnTo>
                    <a:lnTo>
                      <a:pt x="1148006" y="1188052"/>
                    </a:lnTo>
                    <a:lnTo>
                      <a:pt x="1154680" y="1321541"/>
                    </a:lnTo>
                    <a:lnTo>
                      <a:pt x="820958" y="1221425"/>
                    </a:lnTo>
                    <a:lnTo>
                      <a:pt x="807609" y="1495077"/>
                    </a:lnTo>
                    <a:lnTo>
                      <a:pt x="854330" y="1495077"/>
                    </a:lnTo>
                    <a:lnTo>
                      <a:pt x="847656" y="1722009"/>
                    </a:lnTo>
                    <a:lnTo>
                      <a:pt x="607375" y="1848823"/>
                    </a:lnTo>
                    <a:lnTo>
                      <a:pt x="580678" y="2095778"/>
                    </a:lnTo>
                    <a:lnTo>
                      <a:pt x="440514" y="2189220"/>
                    </a:lnTo>
                    <a:lnTo>
                      <a:pt x="607375" y="2683130"/>
                    </a:lnTo>
                    <a:lnTo>
                      <a:pt x="460537" y="2823293"/>
                    </a:lnTo>
                    <a:lnTo>
                      <a:pt x="133489" y="2783247"/>
                    </a:lnTo>
                    <a:lnTo>
                      <a:pt x="0" y="2296012"/>
                    </a:lnTo>
                    <a:lnTo>
                      <a:pt x="146838" y="2275988"/>
                    </a:lnTo>
                    <a:lnTo>
                      <a:pt x="353746" y="1995661"/>
                    </a:lnTo>
                    <a:lnTo>
                      <a:pt x="380444" y="1828800"/>
                    </a:lnTo>
                    <a:lnTo>
                      <a:pt x="527282" y="1762055"/>
                    </a:lnTo>
                    <a:lnTo>
                      <a:pt x="473886" y="1588520"/>
                    </a:lnTo>
                    <a:lnTo>
                      <a:pt x="667445" y="1461705"/>
                    </a:lnTo>
                    <a:lnTo>
                      <a:pt x="660771" y="1321541"/>
                    </a:lnTo>
                    <a:lnTo>
                      <a:pt x="467212" y="1308193"/>
                    </a:lnTo>
                    <a:lnTo>
                      <a:pt x="280327" y="967796"/>
                    </a:lnTo>
                    <a:lnTo>
                      <a:pt x="287002" y="854330"/>
                    </a:lnTo>
                    <a:lnTo>
                      <a:pt x="794260" y="854330"/>
                    </a:lnTo>
                    <a:lnTo>
                      <a:pt x="954447" y="113466"/>
                    </a:lnTo>
                    <a:lnTo>
                      <a:pt x="1241448" y="173536"/>
                    </a:lnTo>
                    <a:lnTo>
                      <a:pt x="1288170" y="0"/>
                    </a:lnTo>
                    <a:close/>
                  </a:path>
                </a:pathLst>
              </a:custGeom>
              <a:solidFill>
                <a:srgbClr val="D04A02">
                  <a:alpha val="4823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 defTabSz="914377">
                  <a:buClr>
                    <a:srgbClr val="000000"/>
                  </a:buClr>
                  <a:buSzPts val="1800"/>
                  <a:defRPr/>
                </a:pPr>
                <a:endParaRPr sz="2400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34" name="Google Shape;1099;p10">
                <a:extLst>
                  <a:ext uri="{FF2B5EF4-FFF2-40B4-BE49-F238E27FC236}">
                    <a16:creationId xmlns:a16="http://schemas.microsoft.com/office/drawing/2014/main" id="{AF3ADCB6-7B1F-C3A1-0C9E-2F603944F3DB}"/>
                  </a:ext>
                </a:extLst>
              </p:cNvPr>
              <p:cNvSpPr/>
              <p:nvPr/>
            </p:nvSpPr>
            <p:spPr>
              <a:xfrm>
                <a:off x="10093168" y="1264759"/>
                <a:ext cx="1604251" cy="3690480"/>
              </a:xfrm>
              <a:custGeom>
                <a:avLst/>
                <a:gdLst/>
                <a:ahLst/>
                <a:cxnLst/>
                <a:rect l="l" t="t" r="r" b="b"/>
                <a:pathLst>
                  <a:path w="3474720" h="7993380" extrusionOk="0">
                    <a:moveTo>
                      <a:pt x="2849880" y="1264920"/>
                    </a:moveTo>
                    <a:lnTo>
                      <a:pt x="2903220" y="1318260"/>
                    </a:lnTo>
                    <a:lnTo>
                      <a:pt x="2766060" y="1661160"/>
                    </a:lnTo>
                    <a:lnTo>
                      <a:pt x="3390900" y="1981200"/>
                    </a:lnTo>
                    <a:lnTo>
                      <a:pt x="3474720" y="2636520"/>
                    </a:lnTo>
                    <a:lnTo>
                      <a:pt x="3070860" y="3177540"/>
                    </a:lnTo>
                    <a:lnTo>
                      <a:pt x="2773680" y="3863340"/>
                    </a:lnTo>
                    <a:lnTo>
                      <a:pt x="2255520" y="4617720"/>
                    </a:lnTo>
                    <a:lnTo>
                      <a:pt x="1905000" y="4770120"/>
                    </a:lnTo>
                    <a:lnTo>
                      <a:pt x="2034540" y="5372100"/>
                    </a:lnTo>
                    <a:lnTo>
                      <a:pt x="1623060" y="5638800"/>
                    </a:lnTo>
                    <a:lnTo>
                      <a:pt x="1424940" y="7429500"/>
                    </a:lnTo>
                    <a:lnTo>
                      <a:pt x="2011680" y="7513320"/>
                    </a:lnTo>
                    <a:lnTo>
                      <a:pt x="1973580" y="7764780"/>
                    </a:lnTo>
                    <a:lnTo>
                      <a:pt x="1798320" y="7993380"/>
                    </a:lnTo>
                    <a:lnTo>
                      <a:pt x="1562100" y="7978140"/>
                    </a:lnTo>
                    <a:lnTo>
                      <a:pt x="1203960" y="7818120"/>
                    </a:lnTo>
                    <a:lnTo>
                      <a:pt x="1242060" y="7574280"/>
                    </a:lnTo>
                    <a:lnTo>
                      <a:pt x="723900" y="7528560"/>
                    </a:lnTo>
                    <a:lnTo>
                      <a:pt x="754380" y="7269480"/>
                    </a:lnTo>
                    <a:lnTo>
                      <a:pt x="1386840" y="6941820"/>
                    </a:lnTo>
                    <a:lnTo>
                      <a:pt x="1478280" y="6225540"/>
                    </a:lnTo>
                    <a:lnTo>
                      <a:pt x="1082040" y="6217920"/>
                    </a:lnTo>
                    <a:lnTo>
                      <a:pt x="906780" y="5471160"/>
                    </a:lnTo>
                    <a:lnTo>
                      <a:pt x="967740" y="5212080"/>
                    </a:lnTo>
                    <a:lnTo>
                      <a:pt x="1485900" y="4975860"/>
                    </a:lnTo>
                    <a:lnTo>
                      <a:pt x="1478280" y="4716780"/>
                    </a:lnTo>
                    <a:lnTo>
                      <a:pt x="1341120" y="4472940"/>
                    </a:lnTo>
                    <a:lnTo>
                      <a:pt x="693420" y="4267200"/>
                    </a:lnTo>
                    <a:lnTo>
                      <a:pt x="914400" y="3825240"/>
                    </a:lnTo>
                    <a:lnTo>
                      <a:pt x="899160" y="3695700"/>
                    </a:lnTo>
                    <a:lnTo>
                      <a:pt x="1211580" y="3619500"/>
                    </a:lnTo>
                    <a:lnTo>
                      <a:pt x="1402080" y="3710940"/>
                    </a:lnTo>
                    <a:lnTo>
                      <a:pt x="1203960" y="4069080"/>
                    </a:lnTo>
                    <a:lnTo>
                      <a:pt x="1760220" y="4236720"/>
                    </a:lnTo>
                    <a:lnTo>
                      <a:pt x="1859280" y="3992880"/>
                    </a:lnTo>
                    <a:lnTo>
                      <a:pt x="1577340" y="3909060"/>
                    </a:lnTo>
                    <a:lnTo>
                      <a:pt x="1600200" y="3794760"/>
                    </a:lnTo>
                    <a:lnTo>
                      <a:pt x="1760220" y="3787140"/>
                    </a:lnTo>
                    <a:lnTo>
                      <a:pt x="1783080" y="3604260"/>
                    </a:lnTo>
                    <a:lnTo>
                      <a:pt x="1965960" y="3550920"/>
                    </a:lnTo>
                    <a:lnTo>
                      <a:pt x="1866900" y="3375660"/>
                    </a:lnTo>
                    <a:lnTo>
                      <a:pt x="1905000" y="3017520"/>
                    </a:lnTo>
                    <a:lnTo>
                      <a:pt x="1737360" y="2987040"/>
                    </a:lnTo>
                    <a:lnTo>
                      <a:pt x="1661160" y="3291840"/>
                    </a:lnTo>
                    <a:lnTo>
                      <a:pt x="1508760" y="3268980"/>
                    </a:lnTo>
                    <a:lnTo>
                      <a:pt x="1470660" y="3055620"/>
                    </a:lnTo>
                    <a:lnTo>
                      <a:pt x="1249680" y="3055620"/>
                    </a:lnTo>
                    <a:lnTo>
                      <a:pt x="1150620" y="3055620"/>
                    </a:lnTo>
                    <a:lnTo>
                      <a:pt x="1485900" y="2621280"/>
                    </a:lnTo>
                    <a:lnTo>
                      <a:pt x="1645920" y="2712720"/>
                    </a:lnTo>
                    <a:lnTo>
                      <a:pt x="1790700" y="2819400"/>
                    </a:lnTo>
                    <a:lnTo>
                      <a:pt x="2324100" y="2682240"/>
                    </a:lnTo>
                    <a:lnTo>
                      <a:pt x="2331720" y="2468880"/>
                    </a:lnTo>
                    <a:lnTo>
                      <a:pt x="2278380" y="2171700"/>
                    </a:lnTo>
                    <a:lnTo>
                      <a:pt x="1638300" y="2049780"/>
                    </a:lnTo>
                    <a:lnTo>
                      <a:pt x="1516380" y="2125980"/>
                    </a:lnTo>
                    <a:lnTo>
                      <a:pt x="60960" y="1988820"/>
                    </a:lnTo>
                    <a:lnTo>
                      <a:pt x="0" y="1844040"/>
                    </a:lnTo>
                    <a:lnTo>
                      <a:pt x="7620" y="1280160"/>
                    </a:lnTo>
                    <a:lnTo>
                      <a:pt x="1569720" y="1379220"/>
                    </a:lnTo>
                    <a:lnTo>
                      <a:pt x="1638300" y="1028700"/>
                    </a:lnTo>
                    <a:lnTo>
                      <a:pt x="1493520" y="990600"/>
                    </a:lnTo>
                    <a:lnTo>
                      <a:pt x="1546860" y="701040"/>
                    </a:lnTo>
                    <a:lnTo>
                      <a:pt x="899160" y="556260"/>
                    </a:lnTo>
                    <a:lnTo>
                      <a:pt x="1028700" y="426720"/>
                    </a:lnTo>
                    <a:lnTo>
                      <a:pt x="1844040" y="563880"/>
                    </a:lnTo>
                    <a:lnTo>
                      <a:pt x="1965960" y="106680"/>
                    </a:lnTo>
                    <a:lnTo>
                      <a:pt x="2225040" y="0"/>
                    </a:lnTo>
                    <a:lnTo>
                      <a:pt x="2575560" y="243840"/>
                    </a:lnTo>
                    <a:lnTo>
                      <a:pt x="2606040" y="449580"/>
                    </a:lnTo>
                    <a:lnTo>
                      <a:pt x="2453640" y="655320"/>
                    </a:lnTo>
                    <a:lnTo>
                      <a:pt x="2590800" y="1188720"/>
                    </a:lnTo>
                    <a:lnTo>
                      <a:pt x="2849880" y="1264920"/>
                    </a:lnTo>
                    <a:close/>
                  </a:path>
                </a:pathLst>
              </a:custGeom>
              <a:solidFill>
                <a:srgbClr val="D04A02">
                  <a:alpha val="48235"/>
                </a:srgbClr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 defTabSz="914377">
                  <a:buClr>
                    <a:srgbClr val="000000"/>
                  </a:buClr>
                  <a:buSzPts val="1800"/>
                  <a:defRPr/>
                </a:pPr>
                <a:endParaRPr sz="2400" kern="0">
                  <a:solidFill>
                    <a:srgbClr val="FFFFFF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86" name="Google Shape;1100;p10">
              <a:extLst>
                <a:ext uri="{FF2B5EF4-FFF2-40B4-BE49-F238E27FC236}">
                  <a16:creationId xmlns:a16="http://schemas.microsoft.com/office/drawing/2014/main" id="{2693A603-945A-0F1D-1F03-2C948C3FEC10}"/>
                </a:ext>
              </a:extLst>
            </p:cNvPr>
            <p:cNvGrpSpPr/>
            <p:nvPr/>
          </p:nvGrpSpPr>
          <p:grpSpPr>
            <a:xfrm>
              <a:off x="820684" y="2515247"/>
              <a:ext cx="2712244" cy="3129084"/>
              <a:chOff x="831056" y="2516982"/>
              <a:chExt cx="2712244" cy="3129084"/>
            </a:xfrm>
          </p:grpSpPr>
          <p:cxnSp>
            <p:nvCxnSpPr>
              <p:cNvPr id="191" name="Google Shape;1101;p10">
                <a:extLst>
                  <a:ext uri="{FF2B5EF4-FFF2-40B4-BE49-F238E27FC236}">
                    <a16:creationId xmlns:a16="http://schemas.microsoft.com/office/drawing/2014/main" id="{C5E63049-3911-FDB0-F7B1-8B3C968DD4B1}"/>
                  </a:ext>
                </a:extLst>
              </p:cNvPr>
              <p:cNvCxnSpPr/>
              <p:nvPr/>
            </p:nvCxnSpPr>
            <p:spPr>
              <a:xfrm>
                <a:off x="831056" y="4409289"/>
                <a:ext cx="62147" cy="0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2" name="Google Shape;1102;p10">
                <a:extLst>
                  <a:ext uri="{FF2B5EF4-FFF2-40B4-BE49-F238E27FC236}">
                    <a16:creationId xmlns:a16="http://schemas.microsoft.com/office/drawing/2014/main" id="{80ED081B-034F-B61D-118B-121CC83E5D19}"/>
                  </a:ext>
                </a:extLst>
              </p:cNvPr>
              <p:cNvCxnSpPr/>
              <p:nvPr/>
            </p:nvCxnSpPr>
            <p:spPr>
              <a:xfrm>
                <a:off x="889489" y="4408100"/>
                <a:ext cx="0" cy="248710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3" name="Google Shape;1103;p10">
                <a:extLst>
                  <a:ext uri="{FF2B5EF4-FFF2-40B4-BE49-F238E27FC236}">
                    <a16:creationId xmlns:a16="http://schemas.microsoft.com/office/drawing/2014/main" id="{25318B4F-B873-844A-F840-1B0D5B2F6350}"/>
                  </a:ext>
                </a:extLst>
              </p:cNvPr>
              <p:cNvCxnSpPr/>
              <p:nvPr/>
            </p:nvCxnSpPr>
            <p:spPr>
              <a:xfrm>
                <a:off x="889489" y="4664423"/>
                <a:ext cx="118685" cy="73384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4" name="Google Shape;1104;p10">
                <a:extLst>
                  <a:ext uri="{FF2B5EF4-FFF2-40B4-BE49-F238E27FC236}">
                    <a16:creationId xmlns:a16="http://schemas.microsoft.com/office/drawing/2014/main" id="{FD2D6563-1B22-ED14-833B-205EA80C707C}"/>
                  </a:ext>
                </a:extLst>
              </p:cNvPr>
              <p:cNvCxnSpPr/>
              <p:nvPr/>
            </p:nvCxnSpPr>
            <p:spPr>
              <a:xfrm>
                <a:off x="1014768" y="4742592"/>
                <a:ext cx="43804" cy="113957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5" name="Google Shape;1105;p10">
                <a:extLst>
                  <a:ext uri="{FF2B5EF4-FFF2-40B4-BE49-F238E27FC236}">
                    <a16:creationId xmlns:a16="http://schemas.microsoft.com/office/drawing/2014/main" id="{923DB1E4-8FC3-C45D-32FC-EE4BE875856B}"/>
                  </a:ext>
                </a:extLst>
              </p:cNvPr>
              <p:cNvCxnSpPr/>
              <p:nvPr/>
            </p:nvCxnSpPr>
            <p:spPr>
              <a:xfrm rot="10800000" flipH="1">
                <a:off x="1066059" y="4464550"/>
                <a:ext cx="656347" cy="399244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6" name="Google Shape;1106;p10">
                <a:extLst>
                  <a:ext uri="{FF2B5EF4-FFF2-40B4-BE49-F238E27FC236}">
                    <a16:creationId xmlns:a16="http://schemas.microsoft.com/office/drawing/2014/main" id="{D22FC76F-507B-1283-3FBF-35BEA1FA74A9}"/>
                  </a:ext>
                </a:extLst>
              </p:cNvPr>
              <p:cNvCxnSpPr/>
              <p:nvPr/>
            </p:nvCxnSpPr>
            <p:spPr>
              <a:xfrm rot="10800000" flipH="1">
                <a:off x="1722405" y="4413432"/>
                <a:ext cx="185783" cy="51119"/>
              </a:xfrm>
              <a:prstGeom prst="straightConnector1">
                <a:avLst/>
              </a:prstGeom>
              <a:noFill/>
              <a:ln w="28575" cap="rnd" cmpd="sng">
                <a:solidFill>
                  <a:srgbClr val="70170E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7" name="Google Shape;1107;p10">
                <a:extLst>
                  <a:ext uri="{FF2B5EF4-FFF2-40B4-BE49-F238E27FC236}">
                    <a16:creationId xmlns:a16="http://schemas.microsoft.com/office/drawing/2014/main" id="{79476CFA-A1AB-52AA-02FE-DB48D9B17A3B}"/>
                  </a:ext>
                </a:extLst>
              </p:cNvPr>
              <p:cNvCxnSpPr/>
              <p:nvPr/>
            </p:nvCxnSpPr>
            <p:spPr>
              <a:xfrm>
                <a:off x="2059507" y="4378551"/>
                <a:ext cx="127318" cy="23829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8" name="Google Shape;1108;p10">
                <a:extLst>
                  <a:ext uri="{FF2B5EF4-FFF2-40B4-BE49-F238E27FC236}">
                    <a16:creationId xmlns:a16="http://schemas.microsoft.com/office/drawing/2014/main" id="{3022A64B-43B2-F6A2-CF86-9CABFBC3E264}"/>
                  </a:ext>
                </a:extLst>
              </p:cNvPr>
              <p:cNvCxnSpPr/>
              <p:nvPr/>
            </p:nvCxnSpPr>
            <p:spPr>
              <a:xfrm flipH="1">
                <a:off x="2151216" y="4408100"/>
                <a:ext cx="35610" cy="66602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199" name="Google Shape;1109;p10">
                <a:extLst>
                  <a:ext uri="{FF2B5EF4-FFF2-40B4-BE49-F238E27FC236}">
                    <a16:creationId xmlns:a16="http://schemas.microsoft.com/office/drawing/2014/main" id="{D010B9D7-CC64-0B83-5726-0015C9C2155D}"/>
                  </a:ext>
                </a:extLst>
              </p:cNvPr>
              <p:cNvCxnSpPr/>
              <p:nvPr/>
            </p:nvCxnSpPr>
            <p:spPr>
              <a:xfrm>
                <a:off x="2151216" y="4470494"/>
                <a:ext cx="9331" cy="108436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0" name="Google Shape;1110;p10">
                <a:extLst>
                  <a:ext uri="{FF2B5EF4-FFF2-40B4-BE49-F238E27FC236}">
                    <a16:creationId xmlns:a16="http://schemas.microsoft.com/office/drawing/2014/main" id="{C7DA477C-8D85-7553-9258-E6F7DE1ACBE3}"/>
                  </a:ext>
                </a:extLst>
              </p:cNvPr>
              <p:cNvCxnSpPr/>
              <p:nvPr/>
            </p:nvCxnSpPr>
            <p:spPr>
              <a:xfrm>
                <a:off x="1066059" y="4875969"/>
                <a:ext cx="83887" cy="198478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1" name="Google Shape;1111;p10">
                <a:extLst>
                  <a:ext uri="{FF2B5EF4-FFF2-40B4-BE49-F238E27FC236}">
                    <a16:creationId xmlns:a16="http://schemas.microsoft.com/office/drawing/2014/main" id="{C79CDBE9-12CB-70E7-156E-6E56D3435731}"/>
                  </a:ext>
                </a:extLst>
              </p:cNvPr>
              <p:cNvCxnSpPr/>
              <p:nvPr/>
            </p:nvCxnSpPr>
            <p:spPr>
              <a:xfrm>
                <a:off x="1153621" y="5081319"/>
                <a:ext cx="75505" cy="28030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2" name="Google Shape;1112;p10">
                <a:extLst>
                  <a:ext uri="{FF2B5EF4-FFF2-40B4-BE49-F238E27FC236}">
                    <a16:creationId xmlns:a16="http://schemas.microsoft.com/office/drawing/2014/main" id="{BB523EA2-987F-DAA6-A59B-2853F31A6384}"/>
                  </a:ext>
                </a:extLst>
              </p:cNvPr>
              <p:cNvCxnSpPr/>
              <p:nvPr/>
            </p:nvCxnSpPr>
            <p:spPr>
              <a:xfrm rot="10800000" flipH="1">
                <a:off x="1239494" y="5089931"/>
                <a:ext cx="64535" cy="19418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3" name="Google Shape;1113;p10">
                <a:extLst>
                  <a:ext uri="{FF2B5EF4-FFF2-40B4-BE49-F238E27FC236}">
                    <a16:creationId xmlns:a16="http://schemas.microsoft.com/office/drawing/2014/main" id="{CFE49527-EC2F-F487-24CB-5A0A5D38FDE0}"/>
                  </a:ext>
                </a:extLst>
              </p:cNvPr>
              <p:cNvCxnSpPr/>
              <p:nvPr/>
            </p:nvCxnSpPr>
            <p:spPr>
              <a:xfrm>
                <a:off x="1312708" y="5095334"/>
                <a:ext cx="0" cy="126447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4" name="Google Shape;1114;p10">
                <a:extLst>
                  <a:ext uri="{FF2B5EF4-FFF2-40B4-BE49-F238E27FC236}">
                    <a16:creationId xmlns:a16="http://schemas.microsoft.com/office/drawing/2014/main" id="{7E20A500-105F-A3E3-3BD1-3CF8F629309E}"/>
                  </a:ext>
                </a:extLst>
              </p:cNvPr>
              <p:cNvCxnSpPr/>
              <p:nvPr/>
            </p:nvCxnSpPr>
            <p:spPr>
              <a:xfrm>
                <a:off x="1312708" y="5221781"/>
                <a:ext cx="134944" cy="264619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5" name="Google Shape;1115;p10">
                <a:extLst>
                  <a:ext uri="{FF2B5EF4-FFF2-40B4-BE49-F238E27FC236}">
                    <a16:creationId xmlns:a16="http://schemas.microsoft.com/office/drawing/2014/main" id="{4CA8119E-A73C-6C20-F295-6065CB830032}"/>
                  </a:ext>
                </a:extLst>
              </p:cNvPr>
              <p:cNvCxnSpPr/>
              <p:nvPr/>
            </p:nvCxnSpPr>
            <p:spPr>
              <a:xfrm>
                <a:off x="1447652" y="5486400"/>
                <a:ext cx="341355" cy="159666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6" name="Google Shape;1116;p10">
                <a:extLst>
                  <a:ext uri="{FF2B5EF4-FFF2-40B4-BE49-F238E27FC236}">
                    <a16:creationId xmlns:a16="http://schemas.microsoft.com/office/drawing/2014/main" id="{EC7FB5EB-3457-5AC9-12B9-F8CECE4392A6}"/>
                  </a:ext>
                </a:extLst>
              </p:cNvPr>
              <p:cNvCxnSpPr/>
              <p:nvPr/>
            </p:nvCxnSpPr>
            <p:spPr>
              <a:xfrm rot="10800000">
                <a:off x="1800774" y="4023506"/>
                <a:ext cx="107414" cy="378874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7" name="Google Shape;1117;p10">
                <a:extLst>
                  <a:ext uri="{FF2B5EF4-FFF2-40B4-BE49-F238E27FC236}">
                    <a16:creationId xmlns:a16="http://schemas.microsoft.com/office/drawing/2014/main" id="{F2839A28-043B-F4DE-940F-1DA1E253451A}"/>
                  </a:ext>
                </a:extLst>
              </p:cNvPr>
              <p:cNvCxnSpPr/>
              <p:nvPr/>
            </p:nvCxnSpPr>
            <p:spPr>
              <a:xfrm flipH="1">
                <a:off x="1800774" y="3780492"/>
                <a:ext cx="48211" cy="242975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8" name="Google Shape;1118;p10">
                <a:extLst>
                  <a:ext uri="{FF2B5EF4-FFF2-40B4-BE49-F238E27FC236}">
                    <a16:creationId xmlns:a16="http://schemas.microsoft.com/office/drawing/2014/main" id="{11BFCD63-F2C6-0E4F-8454-7EE87ABA0370}"/>
                  </a:ext>
                </a:extLst>
              </p:cNvPr>
              <p:cNvCxnSpPr/>
              <p:nvPr/>
            </p:nvCxnSpPr>
            <p:spPr>
              <a:xfrm rot="10800000">
                <a:off x="1835906" y="3632124"/>
                <a:ext cx="12717" cy="137602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09" name="Google Shape;1119;p10">
                <a:extLst>
                  <a:ext uri="{FF2B5EF4-FFF2-40B4-BE49-F238E27FC236}">
                    <a16:creationId xmlns:a16="http://schemas.microsoft.com/office/drawing/2014/main" id="{CE7C73FA-6149-6251-9F91-D2B763EA9F95}"/>
                  </a:ext>
                </a:extLst>
              </p:cNvPr>
              <p:cNvCxnSpPr/>
              <p:nvPr/>
            </p:nvCxnSpPr>
            <p:spPr>
              <a:xfrm rot="10800000">
                <a:off x="1842446" y="3632124"/>
                <a:ext cx="137673" cy="6365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0" name="Google Shape;1120;p10">
                <a:extLst>
                  <a:ext uri="{FF2B5EF4-FFF2-40B4-BE49-F238E27FC236}">
                    <a16:creationId xmlns:a16="http://schemas.microsoft.com/office/drawing/2014/main" id="{E16760E6-D181-1477-E33F-12908217BCA2}"/>
                  </a:ext>
                </a:extLst>
              </p:cNvPr>
              <p:cNvCxnSpPr/>
              <p:nvPr/>
            </p:nvCxnSpPr>
            <p:spPr>
              <a:xfrm>
                <a:off x="1947247" y="3498572"/>
                <a:ext cx="38752" cy="135763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1" name="Google Shape;1121;p10">
                <a:extLst>
                  <a:ext uri="{FF2B5EF4-FFF2-40B4-BE49-F238E27FC236}">
                    <a16:creationId xmlns:a16="http://schemas.microsoft.com/office/drawing/2014/main" id="{FD0E57F7-5DE0-CCB7-D461-8A68421AE18F}"/>
                  </a:ext>
                </a:extLst>
              </p:cNvPr>
              <p:cNvCxnSpPr/>
              <p:nvPr/>
            </p:nvCxnSpPr>
            <p:spPr>
              <a:xfrm rot="10800000" flipH="1">
                <a:off x="1943739" y="3133122"/>
                <a:ext cx="27900" cy="363304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2" name="Google Shape;1122;p10">
                <a:extLst>
                  <a:ext uri="{FF2B5EF4-FFF2-40B4-BE49-F238E27FC236}">
                    <a16:creationId xmlns:a16="http://schemas.microsoft.com/office/drawing/2014/main" id="{47D048B6-7481-7E9B-EBC8-FB1B8271A9C1}"/>
                  </a:ext>
                </a:extLst>
              </p:cNvPr>
              <p:cNvCxnSpPr/>
              <p:nvPr/>
            </p:nvCxnSpPr>
            <p:spPr>
              <a:xfrm>
                <a:off x="1887451" y="2998300"/>
                <a:ext cx="84190" cy="134823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3" name="Google Shape;1123;p10">
                <a:extLst>
                  <a:ext uri="{FF2B5EF4-FFF2-40B4-BE49-F238E27FC236}">
                    <a16:creationId xmlns:a16="http://schemas.microsoft.com/office/drawing/2014/main" id="{E589865D-623B-CE3E-F447-E5B3829A21A5}"/>
                  </a:ext>
                </a:extLst>
              </p:cNvPr>
              <p:cNvCxnSpPr/>
              <p:nvPr/>
            </p:nvCxnSpPr>
            <p:spPr>
              <a:xfrm rot="10800000">
                <a:off x="1819059" y="2816800"/>
                <a:ext cx="68392" cy="175877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4" name="Google Shape;1124;p10">
                <a:extLst>
                  <a:ext uri="{FF2B5EF4-FFF2-40B4-BE49-F238E27FC236}">
                    <a16:creationId xmlns:a16="http://schemas.microsoft.com/office/drawing/2014/main" id="{36F61935-CE58-2E75-3D68-4BB8D90A3C8A}"/>
                  </a:ext>
                </a:extLst>
              </p:cNvPr>
              <p:cNvCxnSpPr/>
              <p:nvPr/>
            </p:nvCxnSpPr>
            <p:spPr>
              <a:xfrm flipH="1">
                <a:off x="1819060" y="2566392"/>
                <a:ext cx="651745" cy="250408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5" name="Google Shape;1125;p10">
                <a:extLst>
                  <a:ext uri="{FF2B5EF4-FFF2-40B4-BE49-F238E27FC236}">
                    <a16:creationId xmlns:a16="http://schemas.microsoft.com/office/drawing/2014/main" id="{93EFB715-4DF2-3AA4-C429-E44E8985F2F6}"/>
                  </a:ext>
                </a:extLst>
              </p:cNvPr>
              <p:cNvCxnSpPr/>
              <p:nvPr/>
            </p:nvCxnSpPr>
            <p:spPr>
              <a:xfrm flipH="1">
                <a:off x="2480398" y="2549922"/>
                <a:ext cx="72286" cy="16470"/>
              </a:xfrm>
              <a:prstGeom prst="straightConnector1">
                <a:avLst/>
              </a:prstGeom>
              <a:noFill/>
              <a:ln w="285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6" name="Google Shape;1126;p10">
                <a:extLst>
                  <a:ext uri="{FF2B5EF4-FFF2-40B4-BE49-F238E27FC236}">
                    <a16:creationId xmlns:a16="http://schemas.microsoft.com/office/drawing/2014/main" id="{07050EB8-2E76-C79F-D42C-C2B0B09DDAAF}"/>
                  </a:ext>
                </a:extLst>
              </p:cNvPr>
              <p:cNvCxnSpPr/>
              <p:nvPr/>
            </p:nvCxnSpPr>
            <p:spPr>
              <a:xfrm rot="10800000">
                <a:off x="2559749" y="2549922"/>
                <a:ext cx="642544" cy="32940"/>
              </a:xfrm>
              <a:prstGeom prst="straightConnector1">
                <a:avLst/>
              </a:prstGeom>
              <a:noFill/>
              <a:ln w="285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7" name="Google Shape;1127;p10">
                <a:extLst>
                  <a:ext uri="{FF2B5EF4-FFF2-40B4-BE49-F238E27FC236}">
                    <a16:creationId xmlns:a16="http://schemas.microsoft.com/office/drawing/2014/main" id="{2901AD49-FDA0-AD92-B6E4-6E25EF90947B}"/>
                  </a:ext>
                </a:extLst>
              </p:cNvPr>
              <p:cNvCxnSpPr/>
              <p:nvPr/>
            </p:nvCxnSpPr>
            <p:spPr>
              <a:xfrm flipH="1">
                <a:off x="3202293" y="2516982"/>
                <a:ext cx="64783" cy="65881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8" name="Google Shape;1128;p10">
                <a:extLst>
                  <a:ext uri="{FF2B5EF4-FFF2-40B4-BE49-F238E27FC236}">
                    <a16:creationId xmlns:a16="http://schemas.microsoft.com/office/drawing/2014/main" id="{069E9CF6-0B63-E2E5-1BA7-E6FC8FC4C8C2}"/>
                  </a:ext>
                </a:extLst>
              </p:cNvPr>
              <p:cNvCxnSpPr/>
              <p:nvPr/>
            </p:nvCxnSpPr>
            <p:spPr>
              <a:xfrm rot="10800000">
                <a:off x="3267076" y="2516983"/>
                <a:ext cx="47624" cy="70189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19" name="Google Shape;1129;p10">
                <a:extLst>
                  <a:ext uri="{FF2B5EF4-FFF2-40B4-BE49-F238E27FC236}">
                    <a16:creationId xmlns:a16="http://schemas.microsoft.com/office/drawing/2014/main" id="{DDB86CAF-47D8-976D-FA5E-F0F933111426}"/>
                  </a:ext>
                </a:extLst>
              </p:cNvPr>
              <p:cNvCxnSpPr/>
              <p:nvPr/>
            </p:nvCxnSpPr>
            <p:spPr>
              <a:xfrm rot="10800000">
                <a:off x="3314700" y="2587173"/>
                <a:ext cx="40481" cy="94820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0" name="Google Shape;1130;p10">
                <a:extLst>
                  <a:ext uri="{FF2B5EF4-FFF2-40B4-BE49-F238E27FC236}">
                    <a16:creationId xmlns:a16="http://schemas.microsoft.com/office/drawing/2014/main" id="{1E14A580-F20A-05B6-C6B3-BBB0741BF95B}"/>
                  </a:ext>
                </a:extLst>
              </p:cNvPr>
              <p:cNvCxnSpPr/>
              <p:nvPr/>
            </p:nvCxnSpPr>
            <p:spPr>
              <a:xfrm rot="10800000">
                <a:off x="3355182" y="2681993"/>
                <a:ext cx="152400" cy="46602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1" name="Google Shape;1131;p10">
                <a:extLst>
                  <a:ext uri="{FF2B5EF4-FFF2-40B4-BE49-F238E27FC236}">
                    <a16:creationId xmlns:a16="http://schemas.microsoft.com/office/drawing/2014/main" id="{6E7C46DB-6FF5-2C4A-797F-A3C4A8AF28A0}"/>
                  </a:ext>
                </a:extLst>
              </p:cNvPr>
              <p:cNvCxnSpPr/>
              <p:nvPr/>
            </p:nvCxnSpPr>
            <p:spPr>
              <a:xfrm rot="10800000">
                <a:off x="3507582" y="2728595"/>
                <a:ext cx="35718" cy="23009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2" name="Google Shape;1132;p10">
                <a:extLst>
                  <a:ext uri="{FF2B5EF4-FFF2-40B4-BE49-F238E27FC236}">
                    <a16:creationId xmlns:a16="http://schemas.microsoft.com/office/drawing/2014/main" id="{B3EB8357-52AD-C713-72DE-98C189E0A70D}"/>
                  </a:ext>
                </a:extLst>
              </p:cNvPr>
              <p:cNvCxnSpPr/>
              <p:nvPr/>
            </p:nvCxnSpPr>
            <p:spPr>
              <a:xfrm rot="10800000">
                <a:off x="3543300" y="2751605"/>
                <a:ext cx="0" cy="84464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3" name="Google Shape;1133;p10">
                <a:extLst>
                  <a:ext uri="{FF2B5EF4-FFF2-40B4-BE49-F238E27FC236}">
                    <a16:creationId xmlns:a16="http://schemas.microsoft.com/office/drawing/2014/main" id="{426DA65E-B445-60AC-481B-665C124D396F}"/>
                  </a:ext>
                </a:extLst>
              </p:cNvPr>
              <p:cNvCxnSpPr/>
              <p:nvPr/>
            </p:nvCxnSpPr>
            <p:spPr>
              <a:xfrm rot="10800000" flipH="1">
                <a:off x="3514879" y="2836069"/>
                <a:ext cx="28421" cy="30956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4" name="Google Shape;1134;p10">
                <a:extLst>
                  <a:ext uri="{FF2B5EF4-FFF2-40B4-BE49-F238E27FC236}">
                    <a16:creationId xmlns:a16="http://schemas.microsoft.com/office/drawing/2014/main" id="{CA1DC028-5DE2-3629-96A5-020FB6F14A7F}"/>
                  </a:ext>
                </a:extLst>
              </p:cNvPr>
              <p:cNvCxnSpPr/>
              <p:nvPr/>
            </p:nvCxnSpPr>
            <p:spPr>
              <a:xfrm rot="10800000" flipH="1">
                <a:off x="3505877" y="2867026"/>
                <a:ext cx="9002" cy="99006"/>
              </a:xfrm>
              <a:prstGeom prst="straightConnector1">
                <a:avLst/>
              </a:prstGeom>
              <a:noFill/>
              <a:ln w="28575" cap="rnd" cmpd="sng">
                <a:solidFill>
                  <a:srgbClr val="A72416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5" name="Google Shape;1135;p10">
                <a:extLst>
                  <a:ext uri="{FF2B5EF4-FFF2-40B4-BE49-F238E27FC236}">
                    <a16:creationId xmlns:a16="http://schemas.microsoft.com/office/drawing/2014/main" id="{FC1A2D16-ED0C-3418-AE9D-EDCEE2943D69}"/>
                  </a:ext>
                </a:extLst>
              </p:cNvPr>
              <p:cNvCxnSpPr/>
              <p:nvPr/>
            </p:nvCxnSpPr>
            <p:spPr>
              <a:xfrm rot="10800000" flipH="1">
                <a:off x="1917460" y="4378551"/>
                <a:ext cx="136590" cy="34881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6" name="Google Shape;1136;p10">
                <a:extLst>
                  <a:ext uri="{FF2B5EF4-FFF2-40B4-BE49-F238E27FC236}">
                    <a16:creationId xmlns:a16="http://schemas.microsoft.com/office/drawing/2014/main" id="{6E997DC1-B431-FE9C-C0E2-BFBD1F4FF9E1}"/>
                  </a:ext>
                </a:extLst>
              </p:cNvPr>
              <p:cNvCxnSpPr/>
              <p:nvPr/>
            </p:nvCxnSpPr>
            <p:spPr>
              <a:xfrm rot="10800000">
                <a:off x="2470805" y="2566392"/>
                <a:ext cx="9593" cy="34488"/>
              </a:xfrm>
              <a:prstGeom prst="straightConnector1">
                <a:avLst/>
              </a:prstGeom>
              <a:noFill/>
              <a:ln w="28575" cap="rnd" cmpd="sng">
                <a:solidFill>
                  <a:srgbClr val="002060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7" name="Google Shape;1137;p10">
                <a:extLst>
                  <a:ext uri="{FF2B5EF4-FFF2-40B4-BE49-F238E27FC236}">
                    <a16:creationId xmlns:a16="http://schemas.microsoft.com/office/drawing/2014/main" id="{2BE104B4-2042-1EFE-4D1F-8DF193D2F58D}"/>
                  </a:ext>
                </a:extLst>
              </p:cNvPr>
              <p:cNvCxnSpPr/>
              <p:nvPr/>
            </p:nvCxnSpPr>
            <p:spPr>
              <a:xfrm>
                <a:off x="2169021" y="4600361"/>
                <a:ext cx="48347" cy="0"/>
              </a:xfrm>
              <a:prstGeom prst="straightConnector1">
                <a:avLst/>
              </a:prstGeom>
              <a:noFill/>
              <a:ln w="28575" cap="rnd" cmpd="sng">
                <a:solidFill>
                  <a:srgbClr val="4B06B2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  <p:cxnSp>
            <p:nvCxnSpPr>
              <p:cNvPr id="228" name="Google Shape;1138;p10">
                <a:extLst>
                  <a:ext uri="{FF2B5EF4-FFF2-40B4-BE49-F238E27FC236}">
                    <a16:creationId xmlns:a16="http://schemas.microsoft.com/office/drawing/2014/main" id="{81FE23C6-145D-AE17-A1F1-C10D1A2AA3BD}"/>
                  </a:ext>
                </a:extLst>
              </p:cNvPr>
              <p:cNvCxnSpPr/>
              <p:nvPr/>
            </p:nvCxnSpPr>
            <p:spPr>
              <a:xfrm rot="10800000" flipH="1">
                <a:off x="1789007" y="5598153"/>
                <a:ext cx="22114" cy="47913"/>
              </a:xfrm>
              <a:prstGeom prst="straightConnector1">
                <a:avLst/>
              </a:prstGeom>
              <a:noFill/>
              <a:ln w="28575" cap="rnd" cmpd="sng">
                <a:solidFill>
                  <a:srgbClr val="175C2C"/>
                </a:solidFill>
                <a:prstDash val="solid"/>
                <a:round/>
                <a:headEnd type="none" w="sm" len="sm"/>
                <a:tailEnd type="none" w="sm" len="sm"/>
              </a:ln>
            </p:spPr>
          </p:cxnSp>
        </p:grpSp>
        <p:sp>
          <p:nvSpPr>
            <p:cNvPr id="187" name="Google Shape;1139;p10">
              <a:extLst>
                <a:ext uri="{FF2B5EF4-FFF2-40B4-BE49-F238E27FC236}">
                  <a16:creationId xmlns:a16="http://schemas.microsoft.com/office/drawing/2014/main" id="{FD9E0D53-AA36-D2C0-813A-BAC07DAC2A98}"/>
                </a:ext>
              </a:extLst>
            </p:cNvPr>
            <p:cNvSpPr txBox="1"/>
            <p:nvPr/>
          </p:nvSpPr>
          <p:spPr>
            <a:xfrm rot="1489142">
              <a:off x="1091060" y="5467059"/>
              <a:ext cx="1024081" cy="611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 defTabSz="914377">
                <a:buClr>
                  <a:srgbClr val="000000"/>
                </a:buClr>
                <a:buSzPts val="700"/>
                <a:defRPr/>
              </a:pPr>
              <a:r>
                <a:rPr lang="de-DE" sz="700" b="1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,0 km</a:t>
              </a:r>
              <a:endParaRPr sz="14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1140;p10">
              <a:extLst>
                <a:ext uri="{FF2B5EF4-FFF2-40B4-BE49-F238E27FC236}">
                  <a16:creationId xmlns:a16="http://schemas.microsoft.com/office/drawing/2014/main" id="{78A79800-AD5A-5982-C11B-7031ED1424AB}"/>
                </a:ext>
              </a:extLst>
            </p:cNvPr>
            <p:cNvSpPr txBox="1"/>
            <p:nvPr/>
          </p:nvSpPr>
          <p:spPr>
            <a:xfrm rot="844504">
              <a:off x="2982114" y="2631577"/>
              <a:ext cx="1024081" cy="611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 defTabSz="914377">
                <a:buClr>
                  <a:srgbClr val="000000"/>
                </a:buClr>
                <a:buSzPts val="700"/>
                <a:defRPr/>
              </a:pPr>
              <a:r>
                <a:rPr lang="de-DE" sz="700" b="1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,3 km</a:t>
              </a:r>
              <a:endParaRPr sz="14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9" name="Google Shape;1141;p10">
              <a:extLst>
                <a:ext uri="{FF2B5EF4-FFF2-40B4-BE49-F238E27FC236}">
                  <a16:creationId xmlns:a16="http://schemas.microsoft.com/office/drawing/2014/main" id="{2E919294-5205-33DA-C0BE-7042DEEDB935}"/>
                </a:ext>
              </a:extLst>
            </p:cNvPr>
            <p:cNvSpPr txBox="1"/>
            <p:nvPr/>
          </p:nvSpPr>
          <p:spPr>
            <a:xfrm rot="185678">
              <a:off x="2265973" y="2637662"/>
              <a:ext cx="1024081" cy="611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 defTabSz="914377">
                <a:buClr>
                  <a:srgbClr val="000000"/>
                </a:buClr>
                <a:buSzPts val="700"/>
                <a:defRPr/>
              </a:pPr>
              <a:r>
                <a:rPr lang="de-DE" sz="700" b="1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1,1 km</a:t>
              </a:r>
              <a:endParaRPr sz="14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0" name="Google Shape;1142;p10">
              <a:extLst>
                <a:ext uri="{FF2B5EF4-FFF2-40B4-BE49-F238E27FC236}">
                  <a16:creationId xmlns:a16="http://schemas.microsoft.com/office/drawing/2014/main" id="{782FC46C-9514-FB2A-5DD2-8D2BF7592254}"/>
                </a:ext>
              </a:extLst>
            </p:cNvPr>
            <p:cNvSpPr txBox="1"/>
            <p:nvPr/>
          </p:nvSpPr>
          <p:spPr>
            <a:xfrm rot="19726478">
              <a:off x="941818" y="4512702"/>
              <a:ext cx="1024081" cy="6112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spAutoFit/>
            </a:bodyPr>
            <a:lstStyle/>
            <a:p>
              <a:pPr algn="ctr" defTabSz="914377">
                <a:buClr>
                  <a:srgbClr val="000000"/>
                </a:buClr>
                <a:buSzPts val="700"/>
                <a:defRPr/>
              </a:pPr>
              <a:r>
                <a:rPr lang="de-DE" sz="700" b="1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rPr>
                <a:t>2,5 km</a:t>
              </a:r>
              <a:endParaRPr sz="1400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4" name="Google Shape;1276;p10">
            <a:extLst>
              <a:ext uri="{FF2B5EF4-FFF2-40B4-BE49-F238E27FC236}">
                <a16:creationId xmlns:a16="http://schemas.microsoft.com/office/drawing/2014/main" id="{CCB8AA56-E9CA-E5AD-BE65-47F0A8E42D41}"/>
              </a:ext>
            </a:extLst>
          </p:cNvPr>
          <p:cNvSpPr/>
          <p:nvPr/>
        </p:nvSpPr>
        <p:spPr>
          <a:xfrm>
            <a:off x="865243" y="131838"/>
            <a:ext cx="1877864" cy="57062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1100" u="sng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Königshufen</a:t>
            </a:r>
            <a:endParaRPr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914377">
              <a:buClr>
                <a:srgbClr val="000000"/>
              </a:buClr>
              <a:buSzPts val="700"/>
            </a:pPr>
            <a:r>
              <a:rPr lang="de-DE" sz="11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ärmemenge: 60 </a:t>
            </a:r>
            <a:r>
              <a:rPr lang="de-DE" sz="1100" kern="0" dirty="0" err="1">
                <a:solidFill>
                  <a:srgbClr val="000000"/>
                </a:solidFill>
                <a:ea typeface="Arial"/>
                <a:cs typeface="Arial"/>
                <a:sym typeface="Arial"/>
              </a:rPr>
              <a:t>GWh</a:t>
            </a:r>
            <a:endParaRPr lang="de-DE"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5" name="Google Shape;1277;p10">
            <a:extLst>
              <a:ext uri="{FF2B5EF4-FFF2-40B4-BE49-F238E27FC236}">
                <a16:creationId xmlns:a16="http://schemas.microsoft.com/office/drawing/2014/main" id="{6CA7917F-25D7-7259-836E-C2151EBE94F8}"/>
              </a:ext>
            </a:extLst>
          </p:cNvPr>
          <p:cNvSpPr/>
          <p:nvPr/>
        </p:nvSpPr>
        <p:spPr>
          <a:xfrm>
            <a:off x="3585861" y="1487925"/>
            <a:ext cx="2049137" cy="57062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1100" u="sng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Zgorzelec</a:t>
            </a:r>
            <a:endParaRPr lang="pl-PL"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914377">
              <a:buClr>
                <a:srgbClr val="000000"/>
              </a:buClr>
              <a:buSzPts val="700"/>
            </a:pPr>
            <a:r>
              <a:rPr lang="de-DE" sz="11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ärmebedarf: 65 </a:t>
            </a:r>
            <a:r>
              <a:rPr lang="de-DE" sz="1100" kern="0" dirty="0" err="1">
                <a:solidFill>
                  <a:srgbClr val="000000"/>
                </a:solidFill>
                <a:ea typeface="Arial"/>
                <a:cs typeface="Arial"/>
                <a:sym typeface="Arial"/>
              </a:rPr>
              <a:t>GWh</a:t>
            </a:r>
            <a:endParaRPr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6" name="Google Shape;1278;p10">
            <a:extLst>
              <a:ext uri="{FF2B5EF4-FFF2-40B4-BE49-F238E27FC236}">
                <a16:creationId xmlns:a16="http://schemas.microsoft.com/office/drawing/2014/main" id="{32FCE3F9-0109-FFC3-07A2-3F95D4EB741C}"/>
              </a:ext>
            </a:extLst>
          </p:cNvPr>
          <p:cNvSpPr/>
          <p:nvPr/>
        </p:nvSpPr>
        <p:spPr>
          <a:xfrm>
            <a:off x="3079321" y="5181690"/>
            <a:ext cx="1821475" cy="57062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1100" u="sng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einhübel</a:t>
            </a:r>
            <a:endParaRPr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914377">
              <a:buClr>
                <a:srgbClr val="000000"/>
              </a:buClr>
              <a:buSzPts val="700"/>
            </a:pPr>
            <a:r>
              <a:rPr lang="de-DE" sz="11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ärmemenge: 17,3 </a:t>
            </a:r>
            <a:r>
              <a:rPr lang="de-DE" sz="1100" kern="0" dirty="0" err="1">
                <a:solidFill>
                  <a:srgbClr val="000000"/>
                </a:solidFill>
                <a:ea typeface="Arial"/>
                <a:cs typeface="Arial"/>
                <a:sym typeface="Arial"/>
              </a:rPr>
              <a:t>GWh</a:t>
            </a:r>
            <a:endParaRPr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7" name="Google Shape;1279;p10">
            <a:extLst>
              <a:ext uri="{FF2B5EF4-FFF2-40B4-BE49-F238E27FC236}">
                <a16:creationId xmlns:a16="http://schemas.microsoft.com/office/drawing/2014/main" id="{C47C0B56-D3A5-40CF-BFC2-48554EE8CAD0}"/>
              </a:ext>
            </a:extLst>
          </p:cNvPr>
          <p:cNvSpPr/>
          <p:nvPr/>
        </p:nvSpPr>
        <p:spPr>
          <a:xfrm>
            <a:off x="2601745" y="3039170"/>
            <a:ext cx="1968233" cy="57062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1100" u="sng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Goethestraße</a:t>
            </a:r>
            <a:endParaRPr sz="1100" u="sng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914377">
              <a:buClr>
                <a:srgbClr val="000000"/>
              </a:buClr>
              <a:buSzPts val="700"/>
            </a:pPr>
            <a:r>
              <a:rPr lang="de-DE" sz="11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ärmemenge: 4,2 </a:t>
            </a:r>
            <a:r>
              <a:rPr lang="de-DE" sz="1100" kern="0" dirty="0" err="1">
                <a:solidFill>
                  <a:srgbClr val="000000"/>
                </a:solidFill>
                <a:ea typeface="Arial"/>
                <a:cs typeface="Arial"/>
                <a:sym typeface="Arial"/>
              </a:rPr>
              <a:t>GWh</a:t>
            </a:r>
            <a:endParaRPr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8" name="Google Shape;1280;p10">
            <a:extLst>
              <a:ext uri="{FF2B5EF4-FFF2-40B4-BE49-F238E27FC236}">
                <a16:creationId xmlns:a16="http://schemas.microsoft.com/office/drawing/2014/main" id="{9C566A48-9C79-38B5-B661-B73AFE9E189D}"/>
              </a:ext>
            </a:extLst>
          </p:cNvPr>
          <p:cNvSpPr/>
          <p:nvPr/>
        </p:nvSpPr>
        <p:spPr>
          <a:xfrm>
            <a:off x="222431" y="1970806"/>
            <a:ext cx="2015531" cy="570623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txBody>
          <a:bodyPr spcFirstLastPara="1" wrap="square" lIns="18000" tIns="18000" rIns="18000" bIns="18000" anchor="ctr" anchorCtr="0">
            <a:no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1100" u="sng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Rauschwalde</a:t>
            </a:r>
            <a:endParaRPr lang="de-DE"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  <a:p>
            <a:pPr algn="ctr" defTabSz="914377">
              <a:buClr>
                <a:srgbClr val="000000"/>
              </a:buClr>
              <a:buSzPts val="700"/>
            </a:pPr>
            <a:r>
              <a:rPr lang="de-DE" sz="11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Wärmemenge: 8,9 </a:t>
            </a:r>
            <a:r>
              <a:rPr lang="de-DE" sz="1100" kern="0" dirty="0" err="1">
                <a:solidFill>
                  <a:srgbClr val="000000"/>
                </a:solidFill>
                <a:ea typeface="Arial"/>
                <a:cs typeface="Arial"/>
                <a:sym typeface="Arial"/>
              </a:rPr>
              <a:t>GWh</a:t>
            </a:r>
            <a:endParaRPr lang="de-DE" sz="1100" kern="0" dirty="0">
              <a:solidFill>
                <a:srgbClr val="000000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89" name="Google Shape;1281;p10">
            <a:extLst>
              <a:ext uri="{FF2B5EF4-FFF2-40B4-BE49-F238E27FC236}">
                <a16:creationId xmlns:a16="http://schemas.microsoft.com/office/drawing/2014/main" id="{EA5CDA65-A002-B718-315E-B8FA9D8BE721}"/>
              </a:ext>
            </a:extLst>
          </p:cNvPr>
          <p:cNvSpPr txBox="1"/>
          <p:nvPr/>
        </p:nvSpPr>
        <p:spPr>
          <a:xfrm rot="3989652">
            <a:off x="1513994" y="1203468"/>
            <a:ext cx="1804796" cy="1077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algn="ctr" defTabSz="914377">
              <a:buClr>
                <a:srgbClr val="000000"/>
              </a:buClr>
              <a:buSzPts val="700"/>
            </a:pPr>
            <a:r>
              <a:rPr lang="de-DE" sz="700" b="1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5,0 km</a:t>
            </a:r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39" name="Grafik 338" descr="Solarmodule mit einfarbiger Füllung">
            <a:extLst>
              <a:ext uri="{FF2B5EF4-FFF2-40B4-BE49-F238E27FC236}">
                <a16:creationId xmlns:a16="http://schemas.microsoft.com/office/drawing/2014/main" id="{2510880E-5031-E029-C8D7-52D665D22DD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354189" y="18085"/>
            <a:ext cx="395591" cy="395591"/>
          </a:xfrm>
          <a:prstGeom prst="rect">
            <a:avLst/>
          </a:prstGeom>
        </p:spPr>
      </p:pic>
      <p:pic>
        <p:nvPicPr>
          <p:cNvPr id="344" name="Grafik 343">
            <a:extLst>
              <a:ext uri="{FF2B5EF4-FFF2-40B4-BE49-F238E27FC236}">
                <a16:creationId xmlns:a16="http://schemas.microsoft.com/office/drawing/2014/main" id="{CF0FA3B1-2B8F-64BB-D92D-425CA0CC9A6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9009" y="86111"/>
            <a:ext cx="426607" cy="373100"/>
          </a:xfrm>
          <a:prstGeom prst="rect">
            <a:avLst/>
          </a:prstGeom>
        </p:spPr>
      </p:pic>
      <p:pic>
        <p:nvPicPr>
          <p:cNvPr id="345" name="Grafik 344">
            <a:extLst>
              <a:ext uri="{FF2B5EF4-FFF2-40B4-BE49-F238E27FC236}">
                <a16:creationId xmlns:a16="http://schemas.microsoft.com/office/drawing/2014/main" id="{2B133F28-4531-5B0A-9C5B-4F6FCD21E71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2933" y="122765"/>
            <a:ext cx="373115" cy="235483"/>
          </a:xfrm>
          <a:prstGeom prst="rect">
            <a:avLst/>
          </a:prstGeom>
        </p:spPr>
      </p:pic>
      <p:pic>
        <p:nvPicPr>
          <p:cNvPr id="347" name="Grafik 346">
            <a:extLst>
              <a:ext uri="{FF2B5EF4-FFF2-40B4-BE49-F238E27FC236}">
                <a16:creationId xmlns:a16="http://schemas.microsoft.com/office/drawing/2014/main" id="{49AE7C27-C13A-525F-004C-10B5CC41E8A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369" y="1049504"/>
            <a:ext cx="401379" cy="368339"/>
          </a:xfrm>
          <a:prstGeom prst="rect">
            <a:avLst/>
          </a:prstGeom>
        </p:spPr>
      </p:pic>
      <p:pic>
        <p:nvPicPr>
          <p:cNvPr id="348" name="Grafik 347" descr="Solarmodule mit einfarbiger Füllung">
            <a:extLst>
              <a:ext uri="{FF2B5EF4-FFF2-40B4-BE49-F238E27FC236}">
                <a16:creationId xmlns:a16="http://schemas.microsoft.com/office/drawing/2014/main" id="{7ABEF9E1-BCFF-EF16-342E-46D8AED186D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893786" y="1005986"/>
            <a:ext cx="395591" cy="395591"/>
          </a:xfrm>
          <a:prstGeom prst="rect">
            <a:avLst/>
          </a:prstGeom>
        </p:spPr>
      </p:pic>
      <p:pic>
        <p:nvPicPr>
          <p:cNvPr id="349" name="Grafik 348" descr="Laubbaum mit einfarbiger Füllung">
            <a:extLst>
              <a:ext uri="{FF2B5EF4-FFF2-40B4-BE49-F238E27FC236}">
                <a16:creationId xmlns:a16="http://schemas.microsoft.com/office/drawing/2014/main" id="{4B8F9315-B7C4-B3F8-B151-4AC3DDCE03E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298290" y="1063173"/>
            <a:ext cx="318711" cy="318711"/>
          </a:xfrm>
          <a:prstGeom prst="rect">
            <a:avLst/>
          </a:prstGeom>
        </p:spPr>
      </p:pic>
      <p:pic>
        <p:nvPicPr>
          <p:cNvPr id="350" name="Grafik 349" descr="Feuer mit einfarbiger Füllung">
            <a:extLst>
              <a:ext uri="{FF2B5EF4-FFF2-40B4-BE49-F238E27FC236}">
                <a16:creationId xmlns:a16="http://schemas.microsoft.com/office/drawing/2014/main" id="{EB840CE1-B538-2877-CAC4-3957E62D73B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562605" y="1021183"/>
            <a:ext cx="373115" cy="373115"/>
          </a:xfrm>
          <a:prstGeom prst="rect">
            <a:avLst/>
          </a:prstGeom>
        </p:spPr>
      </p:pic>
      <p:pic>
        <p:nvPicPr>
          <p:cNvPr id="351" name="Grafik 350" descr="Solarmodule mit einfarbiger Füllung">
            <a:extLst>
              <a:ext uri="{FF2B5EF4-FFF2-40B4-BE49-F238E27FC236}">
                <a16:creationId xmlns:a16="http://schemas.microsoft.com/office/drawing/2014/main" id="{DA3D4E49-59BF-8511-433C-B8FAE3A99B0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081" y="2928889"/>
            <a:ext cx="395591" cy="395591"/>
          </a:xfrm>
          <a:prstGeom prst="rect">
            <a:avLst/>
          </a:prstGeom>
        </p:spPr>
      </p:pic>
      <p:pic>
        <p:nvPicPr>
          <p:cNvPr id="352" name="Grafik 351" descr="Solarmodule mit einfarbiger Füllung">
            <a:extLst>
              <a:ext uri="{FF2B5EF4-FFF2-40B4-BE49-F238E27FC236}">
                <a16:creationId xmlns:a16="http://schemas.microsoft.com/office/drawing/2014/main" id="{013145C4-41D5-4E15-A9DF-59F73C9B12B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9642" y="3953406"/>
            <a:ext cx="395591" cy="395591"/>
          </a:xfrm>
          <a:prstGeom prst="rect">
            <a:avLst/>
          </a:prstGeom>
        </p:spPr>
      </p:pic>
      <p:pic>
        <p:nvPicPr>
          <p:cNvPr id="353" name="Grafik 352" descr="Solarmodule mit einfarbiger Füllung">
            <a:extLst>
              <a:ext uri="{FF2B5EF4-FFF2-40B4-BE49-F238E27FC236}">
                <a16:creationId xmlns:a16="http://schemas.microsoft.com/office/drawing/2014/main" id="{7333198C-AC71-4807-740C-6ABAC12AC5F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217949" y="5674374"/>
            <a:ext cx="395591" cy="395591"/>
          </a:xfrm>
          <a:prstGeom prst="rect">
            <a:avLst/>
          </a:prstGeom>
        </p:spPr>
      </p:pic>
      <p:pic>
        <p:nvPicPr>
          <p:cNvPr id="354" name="Grafik 353" descr="Laubbaum mit einfarbiger Füllung">
            <a:extLst>
              <a:ext uri="{FF2B5EF4-FFF2-40B4-BE49-F238E27FC236}">
                <a16:creationId xmlns:a16="http://schemas.microsoft.com/office/drawing/2014/main" id="{DB3EA61D-36B6-F9FB-F93F-984FF36BEFE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613534" y="5737574"/>
            <a:ext cx="318711" cy="318711"/>
          </a:xfrm>
          <a:prstGeom prst="rect">
            <a:avLst/>
          </a:prstGeom>
        </p:spPr>
      </p:pic>
      <p:pic>
        <p:nvPicPr>
          <p:cNvPr id="355" name="Grafik 354">
            <a:extLst>
              <a:ext uri="{FF2B5EF4-FFF2-40B4-BE49-F238E27FC236}">
                <a16:creationId xmlns:a16="http://schemas.microsoft.com/office/drawing/2014/main" id="{50FA6B0B-3C04-675C-571A-28D0310B4B52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4595" y="5833247"/>
            <a:ext cx="373115" cy="235483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97A822BA-8A00-7B0C-7B3A-522D91724A90}"/>
              </a:ext>
            </a:extLst>
          </p:cNvPr>
          <p:cNvGrpSpPr/>
          <p:nvPr/>
        </p:nvGrpSpPr>
        <p:grpSpPr>
          <a:xfrm>
            <a:off x="5968763" y="1765714"/>
            <a:ext cx="5555735" cy="662173"/>
            <a:chOff x="5968762" y="1725957"/>
            <a:chExt cx="5555736" cy="662173"/>
          </a:xfrm>
        </p:grpSpPr>
        <p:sp>
          <p:nvSpPr>
            <p:cNvPr id="356" name="Textfeld 355">
              <a:extLst>
                <a:ext uri="{FF2B5EF4-FFF2-40B4-BE49-F238E27FC236}">
                  <a16:creationId xmlns:a16="http://schemas.microsoft.com/office/drawing/2014/main" id="{1260C301-980A-30FD-0C20-7DCA37DC76FB}"/>
                </a:ext>
              </a:extLst>
            </p:cNvPr>
            <p:cNvSpPr txBox="1"/>
            <p:nvPr/>
          </p:nvSpPr>
          <p:spPr>
            <a:xfrm>
              <a:off x="6883996" y="1918544"/>
              <a:ext cx="4640502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85744" indent="-285744" defTabSz="914377">
                <a:spcAft>
                  <a:spcPts val="600"/>
                </a:spcAft>
                <a:buClr>
                  <a:srgbClr val="EA1B0A"/>
                </a:buClr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262626"/>
                  </a:solidFill>
                </a:rPr>
                <a:t>Construct </a:t>
              </a:r>
              <a:r>
                <a:rPr lang="en-US" b="1" dirty="0">
                  <a:solidFill>
                    <a:srgbClr val="262626"/>
                  </a:solidFill>
                </a:rPr>
                <a:t>12 km of DH pipelines on both sides</a:t>
              </a:r>
            </a:p>
          </p:txBody>
        </p:sp>
        <p:pic>
          <p:nvPicPr>
            <p:cNvPr id="360" name="Grafik 359">
              <a:extLst>
                <a:ext uri="{FF2B5EF4-FFF2-40B4-BE49-F238E27FC236}">
                  <a16:creationId xmlns:a16="http://schemas.microsoft.com/office/drawing/2014/main" id="{15C8F36E-EA37-86C6-D28D-1811E51B87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8762" y="1725957"/>
              <a:ext cx="773142" cy="662173"/>
            </a:xfrm>
            <a:prstGeom prst="rect">
              <a:avLst/>
            </a:prstGeom>
          </p:spPr>
        </p:pic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512884E-234B-BB3B-B686-4EF2929851C2}"/>
              </a:ext>
            </a:extLst>
          </p:cNvPr>
          <p:cNvGrpSpPr/>
          <p:nvPr/>
        </p:nvGrpSpPr>
        <p:grpSpPr>
          <a:xfrm>
            <a:off x="6061616" y="3720451"/>
            <a:ext cx="5969915" cy="2369880"/>
            <a:chOff x="6113366" y="4502944"/>
            <a:chExt cx="5969915" cy="2369878"/>
          </a:xfrm>
        </p:grpSpPr>
        <p:sp>
          <p:nvSpPr>
            <p:cNvPr id="358" name="Textfeld 357">
              <a:extLst>
                <a:ext uri="{FF2B5EF4-FFF2-40B4-BE49-F238E27FC236}">
                  <a16:creationId xmlns:a16="http://schemas.microsoft.com/office/drawing/2014/main" id="{79A5C80B-5B03-A6E8-E662-94D76C87ED3C}"/>
                </a:ext>
              </a:extLst>
            </p:cNvPr>
            <p:cNvSpPr txBox="1"/>
            <p:nvPr/>
          </p:nvSpPr>
          <p:spPr>
            <a:xfrm>
              <a:off x="6883997" y="4502944"/>
              <a:ext cx="5199284" cy="23698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de-DE"/>
              </a:defPPr>
              <a:lvl1pPr marL="285750" indent="-285750">
                <a:spcAft>
                  <a:spcPts val="60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sz="1600"/>
              </a:lvl1pPr>
            </a:lstStyle>
            <a:p>
              <a:pPr marL="285744" indent="-285744" defTabSz="914377">
                <a:buClr>
                  <a:srgbClr val="EA1B0A"/>
                </a:buClr>
              </a:pPr>
              <a:r>
                <a:rPr lang="en-US" sz="1800" b="1" dirty="0"/>
                <a:t>Cross Border Cooperation </a:t>
              </a:r>
              <a:r>
                <a:rPr lang="en-US" sz="1800" dirty="0"/>
                <a:t>between 2 EU countries,</a:t>
              </a:r>
              <a:br>
                <a:rPr lang="en-US" sz="1800" dirty="0"/>
              </a:br>
              <a:r>
                <a:rPr lang="en-US" sz="1800" dirty="0"/>
                <a:t> 2 cities and 2 major European Energy Companies Veolia and E.ON</a:t>
              </a:r>
            </a:p>
            <a:p>
              <a:r>
                <a:rPr lang="en-GB" sz="1800" dirty="0"/>
                <a:t>Application for funding under EU-Program </a:t>
              </a:r>
              <a:br>
                <a:rPr lang="en-GB" sz="1800" dirty="0"/>
              </a:br>
              <a:r>
                <a:rPr lang="en-GB" sz="1800" b="1" dirty="0"/>
                <a:t>CEF 2 Energy (Connecting Europe Facility) </a:t>
              </a:r>
              <a:br>
                <a:rPr lang="en-GB" sz="1800" b="1" dirty="0"/>
              </a:br>
              <a:r>
                <a:rPr lang="en-GB" sz="1800" b="1" dirty="0"/>
                <a:t>Cross-Border Renewable Energy</a:t>
              </a:r>
              <a:r>
                <a:rPr lang="en-GB" sz="1800" dirty="0"/>
                <a:t> </a:t>
              </a:r>
              <a:r>
                <a:rPr lang="de-DE" sz="1800" dirty="0" err="1"/>
                <a:t>filed</a:t>
              </a:r>
              <a:endParaRPr lang="en-US" sz="1800" dirty="0"/>
            </a:p>
            <a:p>
              <a:pPr marL="285744" indent="-285744" defTabSz="914377">
                <a:buClr>
                  <a:srgbClr val="EA1B0A"/>
                </a:buClr>
              </a:pPr>
              <a:r>
                <a:rPr lang="en-US" sz="1800" dirty="0"/>
                <a:t>Possibility to connect </a:t>
              </a:r>
              <a:r>
                <a:rPr lang="en-US" sz="1800" b="1" dirty="0"/>
                <a:t>new customers </a:t>
              </a:r>
              <a:r>
                <a:rPr lang="en-US" sz="1800" dirty="0"/>
                <a:t>to </a:t>
              </a:r>
              <a:br>
                <a:rPr lang="en-US" sz="1800" b="1" dirty="0"/>
              </a:br>
              <a:r>
                <a:rPr lang="en-US" sz="1800" b="1" dirty="0"/>
                <a:t>low carbon DH system </a:t>
              </a:r>
              <a:r>
                <a:rPr lang="en-US" sz="1800" dirty="0"/>
                <a:t>retaining affordable pricing</a:t>
              </a:r>
              <a:endParaRPr lang="de-DE" sz="1800" dirty="0"/>
            </a:p>
          </p:txBody>
        </p:sp>
        <p:pic>
          <p:nvPicPr>
            <p:cNvPr id="362" name="Grafik 361" descr="Recycling mit einfarbiger Füllung">
              <a:extLst>
                <a:ext uri="{FF2B5EF4-FFF2-40B4-BE49-F238E27FC236}">
                  <a16:creationId xmlns:a16="http://schemas.microsoft.com/office/drawing/2014/main" id="{C638CF6A-004E-0B51-BEEB-00AC6BC5BC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113366" y="5206892"/>
              <a:ext cx="598373" cy="598373"/>
            </a:xfrm>
            <a:prstGeom prst="rect">
              <a:avLst/>
            </a:prstGeom>
          </p:spPr>
        </p:pic>
      </p:grpSp>
      <p:sp>
        <p:nvSpPr>
          <p:cNvPr id="357" name="Textfeld 356">
            <a:extLst>
              <a:ext uri="{FF2B5EF4-FFF2-40B4-BE49-F238E27FC236}">
                <a16:creationId xmlns:a16="http://schemas.microsoft.com/office/drawing/2014/main" id="{C3D3401C-3FE6-1C74-26F5-E70C444B7B5A}"/>
              </a:ext>
            </a:extLst>
          </p:cNvPr>
          <p:cNvSpPr txBox="1"/>
          <p:nvPr/>
        </p:nvSpPr>
        <p:spPr>
          <a:xfrm>
            <a:off x="6872634" y="2378086"/>
            <a:ext cx="5256695" cy="118494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marL="285750" indent="-285750"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1pPr>
          </a:lstStyle>
          <a:p>
            <a:pPr marL="285744" indent="-285744" defTabSz="914377">
              <a:buClr>
                <a:srgbClr val="EA1B0A"/>
              </a:buClr>
            </a:pPr>
            <a:r>
              <a:rPr lang="en-US" sz="1800" dirty="0">
                <a:solidFill>
                  <a:srgbClr val="262626"/>
                </a:solidFill>
              </a:rPr>
              <a:t>A renewed set of generation plants </a:t>
            </a:r>
            <a:br>
              <a:rPr lang="en-US" sz="1800" dirty="0">
                <a:solidFill>
                  <a:srgbClr val="262626"/>
                </a:solidFill>
              </a:rPr>
            </a:br>
            <a:r>
              <a:rPr lang="en-US" sz="1800" dirty="0">
                <a:solidFill>
                  <a:srgbClr val="262626"/>
                </a:solidFill>
              </a:rPr>
              <a:t>in </a:t>
            </a:r>
            <a:r>
              <a:rPr lang="en-US" sz="1800" b="1" dirty="0">
                <a:solidFill>
                  <a:srgbClr val="262626"/>
                </a:solidFill>
              </a:rPr>
              <a:t>both </a:t>
            </a:r>
            <a:r>
              <a:rPr lang="en-US" sz="1800" b="1" dirty="0" err="1">
                <a:solidFill>
                  <a:srgbClr val="262626"/>
                </a:solidFill>
              </a:rPr>
              <a:t>Görlitz</a:t>
            </a:r>
            <a:r>
              <a:rPr lang="en-US" sz="1800" b="1" dirty="0">
                <a:solidFill>
                  <a:srgbClr val="262626"/>
                </a:solidFill>
              </a:rPr>
              <a:t> and Zgorzelec</a:t>
            </a:r>
            <a:endParaRPr lang="de-DE" sz="1800" b="1" dirty="0">
              <a:solidFill>
                <a:srgbClr val="262626"/>
              </a:solidFill>
            </a:endParaRPr>
          </a:p>
          <a:p>
            <a:pPr marL="285744" indent="-285744" defTabSz="914377">
              <a:buClr>
                <a:srgbClr val="EA1B0A"/>
              </a:buClr>
            </a:pPr>
            <a:r>
              <a:rPr lang="en-US" sz="1800" dirty="0">
                <a:solidFill>
                  <a:srgbClr val="262626"/>
                </a:solidFill>
              </a:rPr>
              <a:t>Combination of </a:t>
            </a:r>
            <a:r>
              <a:rPr lang="en-US" sz="1800" b="1" dirty="0">
                <a:solidFill>
                  <a:srgbClr val="262626"/>
                </a:solidFill>
              </a:rPr>
              <a:t>Low Carbon Technologies </a:t>
            </a:r>
            <a:r>
              <a:rPr lang="en-US" sz="1800" dirty="0">
                <a:solidFill>
                  <a:srgbClr val="262626"/>
                </a:solidFill>
              </a:rPr>
              <a:t>incl. </a:t>
            </a:r>
            <a:br>
              <a:rPr lang="en-US" sz="1800" b="1" dirty="0">
                <a:solidFill>
                  <a:srgbClr val="262626"/>
                </a:solidFill>
              </a:rPr>
            </a:br>
            <a:r>
              <a:rPr lang="en-US" sz="1800" dirty="0">
                <a:solidFill>
                  <a:srgbClr val="262626"/>
                </a:solidFill>
              </a:rPr>
              <a:t>biogas, biomass, PV, HP, solar thermal, heat storage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42E8666-FA69-A205-BA72-B486CACEC709}"/>
              </a:ext>
            </a:extLst>
          </p:cNvPr>
          <p:cNvSpPr/>
          <p:nvPr/>
        </p:nvSpPr>
        <p:spPr>
          <a:xfrm>
            <a:off x="5794447" y="6423940"/>
            <a:ext cx="346024" cy="1374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e-DE" sz="1351">
              <a:solidFill>
                <a:srgbClr val="FFFFFF"/>
              </a:solidFill>
              <a:latin typeface="EON Brix Sans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2412EFFC-3D10-0C91-2123-A80C6896E541}"/>
              </a:ext>
            </a:extLst>
          </p:cNvPr>
          <p:cNvSpPr txBox="1"/>
          <p:nvPr/>
        </p:nvSpPr>
        <p:spPr>
          <a:xfrm>
            <a:off x="6108527" y="6357219"/>
            <a:ext cx="2082924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de-DE" sz="1051" dirty="0">
                <a:solidFill>
                  <a:srgbClr val="262626"/>
                </a:solidFill>
              </a:rPr>
              <a:t>DH </a:t>
            </a:r>
            <a:r>
              <a:rPr lang="de-DE" sz="1051" dirty="0" err="1">
                <a:solidFill>
                  <a:srgbClr val="262626"/>
                </a:solidFill>
              </a:rPr>
              <a:t>areas</a:t>
            </a:r>
            <a:endParaRPr lang="de-DE" sz="1051" dirty="0">
              <a:solidFill>
                <a:srgbClr val="262626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EAD4871-8C2B-BD09-E3C2-F22E68D37E52}"/>
              </a:ext>
            </a:extLst>
          </p:cNvPr>
          <p:cNvCxnSpPr>
            <a:cxnSpLocks/>
          </p:cNvCxnSpPr>
          <p:nvPr/>
        </p:nvCxnSpPr>
        <p:spPr>
          <a:xfrm>
            <a:off x="5802166" y="6672875"/>
            <a:ext cx="326535" cy="0"/>
          </a:xfrm>
          <a:prstGeom prst="line">
            <a:avLst/>
          </a:prstGeom>
          <a:ln w="28575"/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Textfeld 6">
            <a:extLst>
              <a:ext uri="{FF2B5EF4-FFF2-40B4-BE49-F238E27FC236}">
                <a16:creationId xmlns:a16="http://schemas.microsoft.com/office/drawing/2014/main" id="{81A3FE4D-BF91-1EE1-8876-96D5A0367297}"/>
              </a:ext>
            </a:extLst>
          </p:cNvPr>
          <p:cNvSpPr txBox="1"/>
          <p:nvPr/>
        </p:nvSpPr>
        <p:spPr>
          <a:xfrm>
            <a:off x="6112511" y="6535955"/>
            <a:ext cx="2082924" cy="254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de-DE" sz="1051" dirty="0">
                <a:solidFill>
                  <a:srgbClr val="262626"/>
                </a:solidFill>
              </a:rPr>
              <a:t>New </a:t>
            </a:r>
            <a:r>
              <a:rPr lang="de-DE" sz="1051" dirty="0" err="1">
                <a:solidFill>
                  <a:srgbClr val="262626"/>
                </a:solidFill>
              </a:rPr>
              <a:t>pipes</a:t>
            </a:r>
            <a:endParaRPr lang="de-DE" sz="1051" dirty="0">
              <a:solidFill>
                <a:srgbClr val="262626"/>
              </a:solidFill>
            </a:endParaRPr>
          </a:p>
        </p:txBody>
      </p:sp>
      <p:pic>
        <p:nvPicPr>
          <p:cNvPr id="8" name="Grafik 7" descr="Solarmodule mit einfarbiger Füllung">
            <a:extLst>
              <a:ext uri="{FF2B5EF4-FFF2-40B4-BE49-F238E27FC236}">
                <a16:creationId xmlns:a16="http://schemas.microsoft.com/office/drawing/2014/main" id="{3D2930DC-9A70-8474-100B-6DCDE9F23D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327125" y="6415905"/>
            <a:ext cx="259479" cy="259479"/>
          </a:xfrm>
          <a:prstGeom prst="rect">
            <a:avLst/>
          </a:prstGeom>
        </p:spPr>
      </p:pic>
      <p:pic>
        <p:nvPicPr>
          <p:cNvPr id="9" name="Grafik 8" descr="Laubbaum mit einfarbiger Füllung">
            <a:extLst>
              <a:ext uri="{FF2B5EF4-FFF2-40B4-BE49-F238E27FC236}">
                <a16:creationId xmlns:a16="http://schemas.microsoft.com/office/drawing/2014/main" id="{F1CD70AB-5608-BC9B-3426-4689638016C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88609" y="6359707"/>
            <a:ext cx="209051" cy="209051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9BD577C-6419-86C1-7E33-DBC998B4B778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0832" y="6591739"/>
            <a:ext cx="244737" cy="154459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8751743C-8AB9-B9A0-FA98-2654BEB97AF9}"/>
              </a:ext>
            </a:extLst>
          </p:cNvPr>
          <p:cNvSpPr txBox="1"/>
          <p:nvPr/>
        </p:nvSpPr>
        <p:spPr>
          <a:xfrm>
            <a:off x="8069940" y="6393169"/>
            <a:ext cx="1562957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de-DE" sz="1051" dirty="0">
                <a:solidFill>
                  <a:srgbClr val="262626"/>
                </a:solidFill>
              </a:rPr>
              <a:t>Possible </a:t>
            </a:r>
            <a:r>
              <a:rPr lang="de-DE" sz="1051" dirty="0" err="1">
                <a:solidFill>
                  <a:srgbClr val="262626"/>
                </a:solidFill>
              </a:rPr>
              <a:t>locations</a:t>
            </a:r>
            <a:r>
              <a:rPr lang="de-DE" sz="1051" dirty="0">
                <a:solidFill>
                  <a:srgbClr val="262626"/>
                </a:solidFill>
              </a:rPr>
              <a:t> </a:t>
            </a:r>
            <a:r>
              <a:rPr lang="de-DE" sz="1051" dirty="0" err="1">
                <a:solidFill>
                  <a:srgbClr val="262626"/>
                </a:solidFill>
              </a:rPr>
              <a:t>for</a:t>
            </a:r>
            <a:r>
              <a:rPr lang="de-DE" sz="1051" dirty="0">
                <a:solidFill>
                  <a:srgbClr val="262626"/>
                </a:solidFill>
              </a:rPr>
              <a:t> </a:t>
            </a:r>
            <a:r>
              <a:rPr lang="de-DE" sz="1051" dirty="0" err="1">
                <a:solidFill>
                  <a:srgbClr val="262626"/>
                </a:solidFill>
              </a:rPr>
              <a:t>new</a:t>
            </a:r>
            <a:r>
              <a:rPr lang="de-DE" sz="1051" dirty="0">
                <a:solidFill>
                  <a:srgbClr val="262626"/>
                </a:solidFill>
              </a:rPr>
              <a:t> plants</a:t>
            </a:r>
          </a:p>
        </p:txBody>
      </p:sp>
      <p:pic>
        <p:nvPicPr>
          <p:cNvPr id="12" name="Grafik 11" descr="Solarmodule mit einfarbiger Füllung">
            <a:extLst>
              <a:ext uri="{FF2B5EF4-FFF2-40B4-BE49-F238E27FC236}">
                <a16:creationId xmlns:a16="http://schemas.microsoft.com/office/drawing/2014/main" id="{D02D3B72-425B-B7B2-13FD-44DEFD0C5C7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65433" y="2988578"/>
            <a:ext cx="395591" cy="395591"/>
          </a:xfrm>
          <a:prstGeom prst="rect">
            <a:avLst/>
          </a:prstGeom>
        </p:spPr>
      </p:pic>
      <p:pic>
        <p:nvPicPr>
          <p:cNvPr id="14" name="Grafik 13" descr="Laubbaum mit einfarbiger Füllung">
            <a:extLst>
              <a:ext uri="{FF2B5EF4-FFF2-40B4-BE49-F238E27FC236}">
                <a16:creationId xmlns:a16="http://schemas.microsoft.com/office/drawing/2014/main" id="{E86C73D1-9C5A-821F-3AB4-98D2D7A4259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086325" y="2591991"/>
            <a:ext cx="318711" cy="318711"/>
          </a:xfrm>
          <a:prstGeom prst="rect">
            <a:avLst/>
          </a:prstGeom>
        </p:spPr>
      </p:pic>
      <p:pic>
        <p:nvPicPr>
          <p:cNvPr id="15" name="Grafik 14" descr="Feuer mit einfarbiger Füllung">
            <a:extLst>
              <a:ext uri="{FF2B5EF4-FFF2-40B4-BE49-F238E27FC236}">
                <a16:creationId xmlns:a16="http://schemas.microsoft.com/office/drawing/2014/main" id="{5C4E1EE0-4CDC-A87D-992E-0D232E18EBE1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417986" y="2597623"/>
            <a:ext cx="373115" cy="37311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EB5443C-A79C-122B-1668-E807938B48A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88407" y="3052472"/>
            <a:ext cx="401379" cy="368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115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D1ivSm0itISrolVGA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2TmEGmr0xBRP9_7dq6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IEcls93cjD7e2acFwc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TC3RScSOSuVdJmkwuZTA"/>
</p:tagLst>
</file>

<file path=ppt/theme/theme1.xml><?xml version="1.0" encoding="utf-8"?>
<a:theme xmlns:a="http://schemas.openxmlformats.org/drawingml/2006/main" name="2_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2.xml><?xml version="1.0" encoding="utf-8"?>
<a:theme xmlns:a="http://schemas.openxmlformats.org/drawingml/2006/main" name="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00402"/>
        </a:solidFill>
        <a:ln>
          <a:noFill/>
        </a:ln>
      </a:spPr>
      <a:bodyPr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96</Words>
  <Application>Microsoft Office PowerPoint</Application>
  <PresentationFormat>Breitbild</PresentationFormat>
  <Paragraphs>123</Paragraphs>
  <Slides>4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4</vt:i4>
      </vt:variant>
    </vt:vector>
  </HeadingPairs>
  <TitlesOfParts>
    <vt:vector size="13" baseType="lpstr">
      <vt:lpstr>Arial</vt:lpstr>
      <vt:lpstr>Calibri</vt:lpstr>
      <vt:lpstr>EON Brix Sans</vt:lpstr>
      <vt:lpstr>EON Brix Sans Black</vt:lpstr>
      <vt:lpstr>Symbol</vt:lpstr>
      <vt:lpstr>2_e-on Enjoyment Template</vt:lpstr>
      <vt:lpstr>e-on Enjoyment Template</vt:lpstr>
      <vt:lpstr>think-cell Folie</vt:lpstr>
      <vt:lpstr>think-cell Slide</vt:lpstr>
      <vt:lpstr>PowerPoint-Präsentation</vt:lpstr>
      <vt:lpstr>E.ON Infrastructure Solutions with a nation-wide footprint in Poland</vt:lpstr>
      <vt:lpstr>PowerPoint-Präsentation</vt:lpstr>
      <vt:lpstr>Climate-neutral district heating in the Görlitz Zgorzelec  A crossborder lighthouse proje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Ewa Chmielewska</dc:creator>
  <cp:lastModifiedBy>Wasielewski, Anna</cp:lastModifiedBy>
  <cp:revision>397</cp:revision>
  <dcterms:created xsi:type="dcterms:W3CDTF">2020-10-27T11:04:38Z</dcterms:created>
  <dcterms:modified xsi:type="dcterms:W3CDTF">2024-05-16T22:14:56Z</dcterms:modified>
</cp:coreProperties>
</file>